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theme/theme10.xml" ContentType="application/vnd.openxmlformats-officedocument.theme+xml"/>
  <Override PartName="/ppt/theme/theme11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4"/>
    <p:sldMasterId id="2147483694" r:id="rId15"/>
    <p:sldMasterId id="2147483705" r:id="rId16"/>
    <p:sldMasterId id="2147483707" r:id="rId17"/>
    <p:sldMasterId id="2147483709" r:id="rId18"/>
    <p:sldMasterId id="2147483711" r:id="rId19"/>
    <p:sldMasterId id="2147483715" r:id="rId20"/>
    <p:sldMasterId id="2147483717" r:id="rId21"/>
    <p:sldMasterId id="2147483718" r:id="rId22"/>
    <p:sldMasterId id="2147483720" r:id="rId23"/>
  </p:sldMasterIdLst>
  <p:notesMasterIdLst>
    <p:notesMasterId r:id="rId31"/>
  </p:notesMasterIdLst>
  <p:sldIdLst>
    <p:sldId id="1449" r:id="rId24"/>
    <p:sldId id="1450" r:id="rId25"/>
    <p:sldId id="1454" r:id="rId26"/>
    <p:sldId id="1452" r:id="rId27"/>
    <p:sldId id="1455" r:id="rId28"/>
    <p:sldId id="1456" r:id="rId29"/>
    <p:sldId id="1457" r:id="rId30"/>
  </p:sldIdLst>
  <p:sldSz cx="12198350" cy="6858000"/>
  <p:notesSz cx="6858000" cy="9144000"/>
  <p:custDataLst>
    <p:tags r:id="rId32"/>
  </p:custDataLst>
  <p:defaultTextStyle>
    <a:defPPr>
      <a:defRPr lang="en-US"/>
    </a:defPPr>
    <a:lvl1pPr marL="0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2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A7B7C"/>
    <a:srgbClr val="FF00FF"/>
    <a:srgbClr val="66FF99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314" autoAdjust="0"/>
    <p:restoredTop sz="82743" autoAdjust="0"/>
  </p:normalViewPr>
  <p:slideViewPr>
    <p:cSldViewPr>
      <p:cViewPr varScale="1">
        <p:scale>
          <a:sx n="112" d="100"/>
          <a:sy n="112" d="100"/>
        </p:scale>
        <p:origin x="784" y="192"/>
      </p:cViewPr>
      <p:guideLst>
        <p:guide orient="horz" pos="2160"/>
        <p:guide pos="3842"/>
      </p:guideLst>
    </p:cSldViewPr>
  </p:slideViewPr>
  <p:outlineViewPr>
    <p:cViewPr>
      <p:scale>
        <a:sx n="33" d="100"/>
        <a:sy n="33" d="100"/>
      </p:scale>
      <p:origin x="0" y="80179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customXml" Target="../customXml/item13.xml"/><Relationship Id="rId18" Type="http://schemas.openxmlformats.org/officeDocument/2006/relationships/slideMaster" Target="slideMasters/slideMaster5.xml"/><Relationship Id="rId26" Type="http://schemas.openxmlformats.org/officeDocument/2006/relationships/slide" Target="slides/slide3.xml"/><Relationship Id="rId3" Type="http://schemas.openxmlformats.org/officeDocument/2006/relationships/customXml" Target="../customXml/item3.xml"/><Relationship Id="rId21" Type="http://schemas.openxmlformats.org/officeDocument/2006/relationships/slideMaster" Target="slideMasters/slideMaster8.xml"/><Relationship Id="rId34" Type="http://schemas.openxmlformats.org/officeDocument/2006/relationships/viewProps" Target="viewProps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slideMaster" Target="slideMasters/slideMaster4.xml"/><Relationship Id="rId25" Type="http://schemas.openxmlformats.org/officeDocument/2006/relationships/slide" Target="slides/slide2.xml"/><Relationship Id="rId33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3.xml"/><Relationship Id="rId20" Type="http://schemas.openxmlformats.org/officeDocument/2006/relationships/slideMaster" Target="slideMasters/slideMaster7.xml"/><Relationship Id="rId29" Type="http://schemas.openxmlformats.org/officeDocument/2006/relationships/slide" Target="slides/slide6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" Target="slides/slide1.xml"/><Relationship Id="rId32" Type="http://schemas.openxmlformats.org/officeDocument/2006/relationships/tags" Target="tags/tag1.xml"/><Relationship Id="rId5" Type="http://schemas.openxmlformats.org/officeDocument/2006/relationships/customXml" Target="../customXml/item5.xml"/><Relationship Id="rId15" Type="http://schemas.openxmlformats.org/officeDocument/2006/relationships/slideMaster" Target="slideMasters/slideMaster2.xml"/><Relationship Id="rId23" Type="http://schemas.openxmlformats.org/officeDocument/2006/relationships/slideMaster" Target="slideMasters/slideMaster10.xml"/><Relationship Id="rId28" Type="http://schemas.openxmlformats.org/officeDocument/2006/relationships/slide" Target="slides/slide5.xml"/><Relationship Id="rId36" Type="http://schemas.openxmlformats.org/officeDocument/2006/relationships/tableStyles" Target="tableStyles.xml"/><Relationship Id="rId10" Type="http://schemas.openxmlformats.org/officeDocument/2006/relationships/customXml" Target="../customXml/item10.xml"/><Relationship Id="rId19" Type="http://schemas.openxmlformats.org/officeDocument/2006/relationships/slideMaster" Target="slideMasters/slideMaster6.xml"/><Relationship Id="rId31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slideMaster" Target="slideMasters/slideMaster1.xml"/><Relationship Id="rId22" Type="http://schemas.openxmlformats.org/officeDocument/2006/relationships/slideMaster" Target="slideMasters/slideMaster9.xml"/><Relationship Id="rId27" Type="http://schemas.openxmlformats.org/officeDocument/2006/relationships/slide" Target="slides/slide4.xml"/><Relationship Id="rId30" Type="http://schemas.openxmlformats.org/officeDocument/2006/relationships/slide" Target="slides/slide7.xml"/><Relationship Id="rId35" Type="http://schemas.openxmlformats.org/officeDocument/2006/relationships/theme" Target="theme/theme1.xml"/><Relationship Id="rId8" Type="http://schemas.openxmlformats.org/officeDocument/2006/relationships/customXml" Target="../customXml/item8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A134F2-1676-48A3-903A-038A6077AAEC}" type="datetimeFigureOut">
              <a:rPr lang="en-US" smtClean="0"/>
              <a:t>3/16/20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79413" y="685800"/>
            <a:ext cx="609917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306DCE6-5E8C-4E63-B22B-AE2E83541C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35564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876" y="2130426"/>
            <a:ext cx="10368598" cy="1470025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9753" y="3886200"/>
            <a:ext cx="8538845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90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8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81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BD15B4-1FB6-4A41-B6F5-F7C6C935F8A0}" type="datetime1">
              <a:rPr lang="en-US" smtClean="0"/>
              <a:t>3/16/20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34115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90962" y="4800600"/>
            <a:ext cx="7319010" cy="56673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90962" y="612775"/>
            <a:ext cx="7319010" cy="4114800"/>
          </a:xfrm>
        </p:spPr>
        <p:txBody>
          <a:bodyPr/>
          <a:lstStyle>
            <a:lvl1pPr marL="0" indent="0">
              <a:buNone/>
              <a:defRPr sz="4300"/>
            </a:lvl1pPr>
            <a:lvl2pPr marL="609768" indent="0">
              <a:buNone/>
              <a:defRPr sz="3700"/>
            </a:lvl2pPr>
            <a:lvl3pPr marL="1219535" indent="0">
              <a:buNone/>
              <a:defRPr sz="3200"/>
            </a:lvl3pPr>
            <a:lvl4pPr marL="1829303" indent="0">
              <a:buNone/>
              <a:defRPr sz="2700"/>
            </a:lvl4pPr>
            <a:lvl5pPr marL="2439071" indent="0">
              <a:buNone/>
              <a:defRPr sz="2700"/>
            </a:lvl5pPr>
            <a:lvl6pPr marL="3048838" indent="0">
              <a:buNone/>
              <a:defRPr sz="2700"/>
            </a:lvl6pPr>
            <a:lvl7pPr marL="3658606" indent="0">
              <a:buNone/>
              <a:defRPr sz="2700"/>
            </a:lvl7pPr>
            <a:lvl8pPr marL="4268373" indent="0">
              <a:buNone/>
              <a:defRPr sz="2700"/>
            </a:lvl8pPr>
            <a:lvl9pPr marL="4878141" indent="0">
              <a:buNone/>
              <a:defRPr sz="2700"/>
            </a:lvl9pPr>
          </a:lstStyle>
          <a:p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90962" y="5367338"/>
            <a:ext cx="7319010" cy="8048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7A51E-E9F9-4BBA-8F3B-026E8500E49A}" type="datetime1">
              <a:rPr lang="en-US" smtClean="0"/>
              <a:t>3/16/20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9006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25710C-A7E3-426D-81F1-F6631B36F75F}" type="datetime1">
              <a:rPr lang="en-US" smtClean="0"/>
              <a:t>3/16/20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068904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43804" y="274639"/>
            <a:ext cx="2744629" cy="5851525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918" y="274639"/>
            <a:ext cx="8030580" cy="5851525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84B572-E480-4EC1-86BB-64101152E68C}" type="datetime1">
              <a:rPr lang="en-US" smtClean="0"/>
              <a:t>3/16/20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63129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EF3888-1861-4ED3-8D16-BD59B50C0AB5}" type="datetime1">
              <a:rPr lang="en-US" smtClean="0"/>
              <a:t>3/16/20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49391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585" y="4406901"/>
            <a:ext cx="10368598" cy="1362075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585" y="2906713"/>
            <a:ext cx="10368598" cy="1500187"/>
          </a:xfrm>
        </p:spPr>
        <p:txBody>
          <a:bodyPr anchor="b"/>
          <a:lstStyle>
            <a:lvl1pPr marL="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1pPr>
            <a:lvl2pPr marL="609768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535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2930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3907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48838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58606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6837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781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F28605-9DC9-49E9-9FDF-F17389E0F925}" type="datetime1">
              <a:rPr lang="en-US" smtClean="0"/>
              <a:t>3/16/20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90382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7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0828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D6A156-8C01-43AD-A170-4C7A07CEB23E}" type="datetime1">
              <a:rPr lang="en-US" smtClean="0"/>
              <a:t>3/16/20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64901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8" y="1600201"/>
            <a:ext cx="2896970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722912" y="1600201"/>
            <a:ext cx="7865522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9D2930-5117-4418-B1CC-5B464C3DF389}" type="datetime1">
              <a:rPr lang="en-US" smtClean="0"/>
              <a:t>3/16/20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05004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535113"/>
            <a:ext cx="5389723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918" y="2174875"/>
            <a:ext cx="5389723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6594" y="1535113"/>
            <a:ext cx="5391840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6594" y="2174875"/>
            <a:ext cx="5391840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65834-9CD6-4E94-8FF1-0A9EBCF6012F}" type="datetime1">
              <a:rPr lang="en-US" smtClean="0"/>
              <a:t>3/16/20</a:t>
            </a:fld>
            <a:endParaRPr lang="en-US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66594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0B8C3C-B55F-4A4B-9AB9-42DD245B1FDF}" type="datetime1">
              <a:rPr lang="en-US" smtClean="0"/>
              <a:t>3/16/20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04345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433D54-DB42-4C98-97A1-04DF30310EB4}" type="datetime1">
              <a:rPr lang="en-US" smtClean="0"/>
              <a:t>3/16/20</a:t>
            </a:fld>
            <a:endParaRPr lang="en-US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3393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920" y="273049"/>
            <a:ext cx="4013173" cy="1162051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9216" y="273052"/>
            <a:ext cx="6819216" cy="585311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920" y="1435102"/>
            <a:ext cx="4013173" cy="46910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BE6B90-4F68-4210-A214-7763A6F7F26A}" type="datetime1">
              <a:rPr lang="en-US" smtClean="0"/>
              <a:t>3/16/20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36929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1143000"/>
          </a:xfrm>
          <a:prstGeom prst="rect">
            <a:avLst/>
          </a:prstGeom>
        </p:spPr>
        <p:txBody>
          <a:bodyPr vert="horz" lIns="121954" tIns="60977" rIns="121954" bIns="60977" rtlCol="0" anchor="ctr">
            <a:noAutofit/>
          </a:bodyPr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600201"/>
            <a:ext cx="10978515" cy="4525963"/>
          </a:xfrm>
          <a:prstGeom prst="rect">
            <a:avLst/>
          </a:prstGeom>
        </p:spPr>
        <p:txBody>
          <a:bodyPr vert="horz" lIns="121954" tIns="60977" rIns="121954" bIns="60977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0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312A3AF-1541-4979-9422-18F79577997B}" type="datetime1">
              <a:rPr lang="en-US" smtClean="0"/>
              <a:t>3/16/20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7770" y="6492875"/>
            <a:ext cx="3862811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343515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93696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9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</p:sldLayoutIdLst>
  <p:hf hdr="0" ftr="0" dt="0"/>
  <p:txStyles>
    <p:titleStyle>
      <a:lvl1pPr algn="ctr" defTabSz="1219535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1219535" rtl="0" eaLnBrk="1" latinLnBrk="0" hangingPunct="1">
        <a:spcBef>
          <a:spcPts val="6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48000" indent="-288000" algn="l" defTabSz="1219535" rtl="0" eaLnBrk="1" latinLnBrk="0" hangingPunct="1">
        <a:spcBef>
          <a:spcPts val="3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008000" indent="-288000" algn="l" defTabSz="1219535" rtl="0" eaLnBrk="1" latinLnBrk="0" hangingPunct="1">
        <a:spcBef>
          <a:spcPts val="3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96000" indent="-216000" algn="l" defTabSz="1219535" rtl="0" eaLnBrk="1" latinLnBrk="0" hangingPunct="1">
        <a:spcBef>
          <a:spcPts val="1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84000" indent="-216000" algn="l" defTabSz="1219535" rtl="0" eaLnBrk="1" latinLnBrk="0" hangingPunct="1">
        <a:spcBef>
          <a:spcPts val="100"/>
        </a:spcBef>
        <a:buFont typeface="Courier New" panose="02070309020205020404" pitchFamily="49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3722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490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3257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3025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6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535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30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907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83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606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37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814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6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2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6" y="1558457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8" y="6553186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3984621028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4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4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89" indent="-228589" algn="l" defTabSz="121914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27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34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588" indent="-224356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63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13" name="Rectangle 17"/>
          <p:cNvSpPr>
            <a:spLocks noChangeArrowheads="1"/>
          </p:cNvSpPr>
          <p:nvPr/>
        </p:nvSpPr>
        <p:spPr bwMode="auto">
          <a:xfrm>
            <a:off x="487090" y="381006"/>
            <a:ext cx="11219942" cy="1323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7235" tIns="33619" rIns="67235" bIns="33619" anchor="ctr" anchorCtr="1"/>
          <a:lstStyle/>
          <a:p>
            <a:pPr defTabSz="668242">
              <a:lnSpc>
                <a:spcPct val="90000"/>
              </a:lnSpc>
              <a:spcBef>
                <a:spcPct val="0"/>
              </a:spcBef>
            </a:pPr>
            <a:endParaRPr lang="en-US" sz="2333" dirty="0">
              <a:solidFill>
                <a:prstClr val="white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Neo Sans Intel Medium" pitchFamily="34" charset="0"/>
            </a:endParaRPr>
          </a:p>
        </p:txBody>
      </p:sp>
      <p:sp>
        <p:nvSpPr>
          <p:cNvPr id="4114" name="Rectangle 18"/>
          <p:cNvSpPr>
            <a:spLocks noChangeArrowheads="1"/>
          </p:cNvSpPr>
          <p:nvPr/>
        </p:nvSpPr>
        <p:spPr bwMode="auto">
          <a:xfrm>
            <a:off x="489207" y="1793883"/>
            <a:ext cx="11215705" cy="416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6771" tIns="33387" rIns="66771" bIns="33387" anchorCtr="1"/>
          <a:lstStyle/>
          <a:p>
            <a:pPr marL="164724" indent="-164724" defTabSz="668242">
              <a:buFont typeface="Wingdings" pitchFamily="2" charset="2"/>
              <a:buChar char=""/>
            </a:pPr>
            <a:endParaRPr lang="en-US" sz="1751" dirty="0">
              <a:solidFill>
                <a:prstClr val="white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Neo Sans Intel" pitchFamily="34" charset="0"/>
            </a:endParaRPr>
          </a:p>
        </p:txBody>
      </p:sp>
      <p:sp>
        <p:nvSpPr>
          <p:cNvPr id="4115" name="Rectangle 19"/>
          <p:cNvSpPr>
            <a:spLocks noGrp="1" noChangeArrowheads="1"/>
          </p:cNvSpPr>
          <p:nvPr>
            <p:ph type="title"/>
          </p:nvPr>
        </p:nvSpPr>
        <p:spPr bwMode="auto">
          <a:xfrm>
            <a:off x="609918" y="274639"/>
            <a:ext cx="10978515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0185" tIns="40092" rIns="80185" bIns="4009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4116" name="Rectangle 20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918" y="1600203"/>
            <a:ext cx="10978515" cy="45259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0185" tIns="40092" rIns="80185" bIns="40092" numCol="1" anchor="t" anchorCtr="1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467466097"/>
      </p:ext>
    </p:extLst>
  </p:cSld>
  <p:clrMap bg1="dk2" tx1="lt1" bg2="dk1" tx2="lt2" accent1="accent1" accent2="accent2" accent3="accent3" accent4="accent4" accent5="accent5" accent6="accent6" hlink="hlink" folHlink="folHlink"/>
  <p:transition>
    <p:fade/>
  </p:transition>
  <p:hf hdr="0" ftr="0" dt="0"/>
  <p:txStyles>
    <p:titleStyle>
      <a:lvl1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333">
          <a:solidFill>
            <a:schemeClr val="tx1"/>
          </a:solidFill>
          <a:effectLst/>
          <a:latin typeface="+mj-lt"/>
          <a:ea typeface="+mj-ea"/>
          <a:cs typeface="+mj-cs"/>
        </a:defRPr>
      </a:lvl1pPr>
      <a:lvl2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2pPr>
      <a:lvl3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3pPr>
      <a:lvl4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4pPr>
      <a:lvl5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5pPr>
      <a:lvl6pPr marL="334088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6pPr>
      <a:lvl7pPr marL="668174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7pPr>
      <a:lvl8pPr marL="1002262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8pPr>
      <a:lvl9pPr marL="1336348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33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Neo Sans Intel Medium" pitchFamily="34" charset="0"/>
          <a:cs typeface="Arial" charset="0"/>
        </a:defRPr>
      </a:lvl9pPr>
    </p:titleStyle>
    <p:bodyStyle>
      <a:lvl1pPr marL="164724" indent="-16472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tx1"/>
        </a:buClr>
        <a:buFont typeface="Arial" pitchFamily="34" charset="0"/>
        <a:buChar char="•"/>
        <a:defRPr sz="2667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416450" indent="-16472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tx1"/>
        </a:buClr>
        <a:buChar char="–"/>
        <a:defRPr sz="2333">
          <a:solidFill>
            <a:schemeClr val="tx1"/>
          </a:solidFill>
          <a:effectLst/>
          <a:latin typeface="+mn-lt"/>
          <a:cs typeface="+mn-cs"/>
        </a:defRPr>
      </a:lvl2pPr>
      <a:lvl3pPr marL="668174" indent="-164724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tx1"/>
        </a:buClr>
        <a:buChar char="–"/>
        <a:defRPr sz="2000">
          <a:solidFill>
            <a:schemeClr val="tx1"/>
          </a:solidFill>
          <a:effectLst/>
          <a:latin typeface="+mn-lt"/>
          <a:cs typeface="+mn-cs"/>
        </a:defRPr>
      </a:lvl3pPr>
      <a:lvl4pPr marL="1010381" indent="-175165" algn="l" rtl="0" eaLnBrk="1" fontAlgn="base" hangingPunct="1">
        <a:spcBef>
          <a:spcPct val="20000"/>
        </a:spcBef>
        <a:spcAft>
          <a:spcPct val="0"/>
        </a:spcAft>
        <a:buChar char="–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4pPr>
      <a:lvl5pPr marL="1262107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5pPr>
      <a:lvl6pPr marL="1596193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6pPr>
      <a:lvl7pPr marL="1930281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7pPr>
      <a:lvl8pPr marL="2264366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8pPr>
      <a:lvl9pPr marL="2598454" indent="-168205" algn="l" rtl="0" eaLnBrk="1" fontAlgn="base" hangingPunct="1">
        <a:spcBef>
          <a:spcPct val="20000"/>
        </a:spcBef>
        <a:spcAft>
          <a:spcPct val="0"/>
        </a:spcAft>
        <a:buChar char="•"/>
        <a:defRPr sz="1417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+mn-cs"/>
        </a:defRPr>
      </a:lvl9pPr>
    </p:bodyStyle>
    <p:otherStyle>
      <a:defPPr>
        <a:defRPr lang="en-US"/>
      </a:defPPr>
      <a:lvl1pPr marL="0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1pPr>
      <a:lvl2pPr marL="334088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2pPr>
      <a:lvl3pPr marL="668174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3pPr>
      <a:lvl4pPr marL="1002262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4pPr>
      <a:lvl5pPr marL="1336348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5pPr>
      <a:lvl6pPr marL="1670436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6pPr>
      <a:lvl7pPr marL="2004521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7pPr>
      <a:lvl8pPr marL="2338608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8pPr>
      <a:lvl9pPr marL="2672695" algn="l" defTabSz="668174" rtl="0" eaLnBrk="1" latinLnBrk="0" hangingPunct="1">
        <a:defRPr sz="13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5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1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5" y="1558456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7" y="6553185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1569098857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7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94" indent="-228594" algn="l" defTabSz="121917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39" indent="-228594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50" indent="-228594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610" indent="-224361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6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2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6" y="1558457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8" y="6553186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208990526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4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4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89" indent="-228589" algn="l" defTabSz="121914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27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34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588" indent="-224356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63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6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2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6" y="1558457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8" y="6553186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730545825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4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4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89" indent="-228589" algn="l" defTabSz="121914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27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34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588" indent="-224356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63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6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3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8" y="1558457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8" y="6553187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260188352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08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08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78" indent="-228578" algn="l" defTabSz="121908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03" indent="-228578" algn="l" defTabSz="121908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02" indent="-228578" algn="l" defTabSz="121908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542" indent="-224345" algn="l" defTabSz="121908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464" indent="-304768" algn="l" defTabSz="121908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005" indent="-304768" algn="l" defTabSz="121908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544" indent="-304768" algn="l" defTabSz="121908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082" indent="-304768" algn="l" defTabSz="121908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39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080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18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158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696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235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773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313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5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1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5" y="1558456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7" y="6553185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435426051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7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94" indent="-228594" algn="l" defTabSz="121917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39" indent="-228594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50" indent="-228594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610" indent="-224361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6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2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6" y="1558457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8" y="6553186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3332178899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4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4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89" indent="-228589" algn="l" defTabSz="121914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27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34" indent="-228589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588" indent="-224356" algn="l" defTabSz="121914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63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11639771" y="6516195"/>
            <a:ext cx="0" cy="238125"/>
          </a:xfrm>
          <a:prstGeom prst="line">
            <a:avLst/>
          </a:prstGeom>
          <a:ln w="3175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757" y="304701"/>
            <a:ext cx="11253960" cy="7243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195" y="1558456"/>
            <a:ext cx="11253960" cy="4285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03937" y="6553185"/>
            <a:ext cx="171076" cy="164148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0">
            <a:spAutoFit/>
          </a:bodyPr>
          <a:lstStyle>
            <a:lvl1pPr algn="l">
              <a:defRPr lang="en-US" sz="1067" smtClean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fld id="{FD44707B-D922-47D5-BD24-D96E91B70543}" type="slidenum">
              <a:rPr lang="en-US" smtClean="0"/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1033709" y="6486789"/>
            <a:ext cx="452774" cy="298259"/>
            <a:chOff x="451796" y="386081"/>
            <a:chExt cx="1249194" cy="823318"/>
          </a:xfrm>
        </p:grpSpPr>
        <p:sp>
          <p:nvSpPr>
            <p:cNvPr id="16" name="Freeform 36"/>
            <p:cNvSpPr>
              <a:spLocks noEditPoints="1"/>
            </p:cNvSpPr>
            <p:nvPr userDrawn="1"/>
          </p:nvSpPr>
          <p:spPr bwMode="auto">
            <a:xfrm>
              <a:off x="451796" y="386081"/>
              <a:ext cx="1249194" cy="823318"/>
            </a:xfrm>
            <a:custGeom>
              <a:avLst/>
              <a:gdLst>
                <a:gd name="T0" fmla="*/ 2295 w 3777"/>
                <a:gd name="T1" fmla="*/ 1128 h 2491"/>
                <a:gd name="T2" fmla="*/ 2564 w 3777"/>
                <a:gd name="T3" fmla="*/ 1149 h 2491"/>
                <a:gd name="T4" fmla="*/ 2434 w 3777"/>
                <a:gd name="T5" fmla="*/ 1046 h 2491"/>
                <a:gd name="T6" fmla="*/ 1474 w 3777"/>
                <a:gd name="T7" fmla="*/ 949 h 2491"/>
                <a:gd name="T8" fmla="*/ 1548 w 3777"/>
                <a:gd name="T9" fmla="*/ 1130 h 2491"/>
                <a:gd name="T10" fmla="*/ 1326 w 3777"/>
                <a:gd name="T11" fmla="*/ 1068 h 2491"/>
                <a:gd name="T12" fmla="*/ 920 w 3777"/>
                <a:gd name="T13" fmla="*/ 900 h 2491"/>
                <a:gd name="T14" fmla="*/ 630 w 3777"/>
                <a:gd name="T15" fmla="*/ 1637 h 2491"/>
                <a:gd name="T16" fmla="*/ 551 w 3777"/>
                <a:gd name="T17" fmla="*/ 1468 h 2491"/>
                <a:gd name="T18" fmla="*/ 2646 w 3777"/>
                <a:gd name="T19" fmla="*/ 959 h 2491"/>
                <a:gd name="T20" fmla="*/ 2769 w 3777"/>
                <a:gd name="T21" fmla="*/ 1272 h 2491"/>
                <a:gd name="T22" fmla="*/ 2335 w 3777"/>
                <a:gd name="T23" fmla="*/ 1478 h 2491"/>
                <a:gd name="T24" fmla="*/ 2551 w 3777"/>
                <a:gd name="T25" fmla="*/ 1496 h 2491"/>
                <a:gd name="T26" fmla="*/ 2677 w 3777"/>
                <a:gd name="T27" fmla="*/ 1613 h 2491"/>
                <a:gd name="T28" fmla="*/ 2400 w 3777"/>
                <a:gd name="T29" fmla="*/ 1677 h 2491"/>
                <a:gd name="T30" fmla="*/ 2162 w 3777"/>
                <a:gd name="T31" fmla="*/ 1556 h 2491"/>
                <a:gd name="T32" fmla="*/ 2087 w 3777"/>
                <a:gd name="T33" fmla="*/ 1215 h 2491"/>
                <a:gd name="T34" fmla="*/ 2243 w 3777"/>
                <a:gd name="T35" fmla="*/ 941 h 2491"/>
                <a:gd name="T36" fmla="*/ 412 w 3777"/>
                <a:gd name="T37" fmla="*/ 815 h 2491"/>
                <a:gd name="T38" fmla="*/ 164 w 3777"/>
                <a:gd name="T39" fmla="*/ 1308 h 2491"/>
                <a:gd name="T40" fmla="*/ 246 w 3777"/>
                <a:gd name="T41" fmla="*/ 1819 h 2491"/>
                <a:gd name="T42" fmla="*/ 614 w 3777"/>
                <a:gd name="T43" fmla="*/ 2109 h 2491"/>
                <a:gd name="T44" fmla="*/ 1163 w 3777"/>
                <a:gd name="T45" fmla="*/ 2229 h 2491"/>
                <a:gd name="T46" fmla="*/ 1796 w 3777"/>
                <a:gd name="T47" fmla="*/ 2220 h 2491"/>
                <a:gd name="T48" fmla="*/ 2654 w 3777"/>
                <a:gd name="T49" fmla="*/ 2031 h 2491"/>
                <a:gd name="T50" fmla="*/ 3022 w 3777"/>
                <a:gd name="T51" fmla="*/ 2160 h 2491"/>
                <a:gd name="T52" fmla="*/ 2228 w 3777"/>
                <a:gd name="T53" fmla="*/ 2412 h 2491"/>
                <a:gd name="T54" fmla="*/ 1360 w 3777"/>
                <a:gd name="T55" fmla="*/ 2489 h 2491"/>
                <a:gd name="T56" fmla="*/ 599 w 3777"/>
                <a:gd name="T57" fmla="*/ 2344 h 2491"/>
                <a:gd name="T58" fmla="*/ 135 w 3777"/>
                <a:gd name="T59" fmla="*/ 1990 h 2491"/>
                <a:gd name="T60" fmla="*/ 2 w 3777"/>
                <a:gd name="T61" fmla="*/ 1451 h 2491"/>
                <a:gd name="T62" fmla="*/ 206 w 3777"/>
                <a:gd name="T63" fmla="*/ 933 h 2491"/>
                <a:gd name="T64" fmla="*/ 1887 w 3777"/>
                <a:gd name="T65" fmla="*/ 900 h 2491"/>
                <a:gd name="T66" fmla="*/ 1899 w 3777"/>
                <a:gd name="T67" fmla="*/ 1478 h 2491"/>
                <a:gd name="T68" fmla="*/ 1918 w 3777"/>
                <a:gd name="T69" fmla="*/ 1665 h 2491"/>
                <a:gd name="T70" fmla="*/ 1716 w 3777"/>
                <a:gd name="T71" fmla="*/ 1552 h 2491"/>
                <a:gd name="T72" fmla="*/ 745 w 3777"/>
                <a:gd name="T73" fmla="*/ 608 h 2491"/>
                <a:gd name="T74" fmla="*/ 3078 w 3777"/>
                <a:gd name="T75" fmla="*/ 1659 h 2491"/>
                <a:gd name="T76" fmla="*/ 2899 w 3777"/>
                <a:gd name="T77" fmla="*/ 1548 h 2491"/>
                <a:gd name="T78" fmla="*/ 2515 w 3777"/>
                <a:gd name="T79" fmla="*/ 0 h 2491"/>
                <a:gd name="T80" fmla="*/ 3161 w 3777"/>
                <a:gd name="T81" fmla="*/ 109 h 2491"/>
                <a:gd name="T82" fmla="*/ 3615 w 3777"/>
                <a:gd name="T83" fmla="*/ 404 h 2491"/>
                <a:gd name="T84" fmla="*/ 3777 w 3777"/>
                <a:gd name="T85" fmla="*/ 900 h 2491"/>
                <a:gd name="T86" fmla="*/ 3591 w 3777"/>
                <a:gd name="T87" fmla="*/ 1385 h 2491"/>
                <a:gd name="T88" fmla="*/ 3211 w 3777"/>
                <a:gd name="T89" fmla="*/ 1665 h 2491"/>
                <a:gd name="T90" fmla="*/ 3510 w 3777"/>
                <a:gd name="T91" fmla="*/ 1151 h 2491"/>
                <a:gd name="T92" fmla="*/ 3557 w 3777"/>
                <a:gd name="T93" fmla="*/ 684 h 2491"/>
                <a:gd name="T94" fmla="*/ 3258 w 3777"/>
                <a:gd name="T95" fmla="*/ 321 h 2491"/>
                <a:gd name="T96" fmla="*/ 2715 w 3777"/>
                <a:gd name="T97" fmla="*/ 149 h 2491"/>
                <a:gd name="T98" fmla="*/ 2027 w 3777"/>
                <a:gd name="T99" fmla="*/ 153 h 2491"/>
                <a:gd name="T100" fmla="*/ 1292 w 3777"/>
                <a:gd name="T101" fmla="*/ 321 h 2491"/>
                <a:gd name="T102" fmla="*/ 933 w 3777"/>
                <a:gd name="T103" fmla="*/ 383 h 2491"/>
                <a:gd name="T104" fmla="*/ 1651 w 3777"/>
                <a:gd name="T105" fmla="*/ 103 h 2491"/>
                <a:gd name="T106" fmla="*/ 2396 w 3777"/>
                <a:gd name="T107" fmla="*/ 0 h 2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7" h="2491">
                  <a:moveTo>
                    <a:pt x="2434" y="1046"/>
                  </a:moveTo>
                  <a:lnTo>
                    <a:pt x="2396" y="1050"/>
                  </a:lnTo>
                  <a:lnTo>
                    <a:pt x="2362" y="1062"/>
                  </a:lnTo>
                  <a:lnTo>
                    <a:pt x="2335" y="1078"/>
                  </a:lnTo>
                  <a:lnTo>
                    <a:pt x="2311" y="1102"/>
                  </a:lnTo>
                  <a:lnTo>
                    <a:pt x="2295" y="1128"/>
                  </a:lnTo>
                  <a:lnTo>
                    <a:pt x="2285" y="1153"/>
                  </a:lnTo>
                  <a:lnTo>
                    <a:pt x="2279" y="1179"/>
                  </a:lnTo>
                  <a:lnTo>
                    <a:pt x="2275" y="1211"/>
                  </a:lnTo>
                  <a:lnTo>
                    <a:pt x="2574" y="1211"/>
                  </a:lnTo>
                  <a:lnTo>
                    <a:pt x="2572" y="1179"/>
                  </a:lnTo>
                  <a:lnTo>
                    <a:pt x="2564" y="1149"/>
                  </a:lnTo>
                  <a:lnTo>
                    <a:pt x="2555" y="1122"/>
                  </a:lnTo>
                  <a:lnTo>
                    <a:pt x="2541" y="1098"/>
                  </a:lnTo>
                  <a:lnTo>
                    <a:pt x="2521" y="1076"/>
                  </a:lnTo>
                  <a:lnTo>
                    <a:pt x="2497" y="1060"/>
                  </a:lnTo>
                  <a:lnTo>
                    <a:pt x="2467" y="1050"/>
                  </a:lnTo>
                  <a:lnTo>
                    <a:pt x="2434" y="1046"/>
                  </a:lnTo>
                  <a:close/>
                  <a:moveTo>
                    <a:pt x="920" y="900"/>
                  </a:moveTo>
                  <a:lnTo>
                    <a:pt x="1320" y="900"/>
                  </a:lnTo>
                  <a:lnTo>
                    <a:pt x="1367" y="904"/>
                  </a:lnTo>
                  <a:lnTo>
                    <a:pt x="1409" y="914"/>
                  </a:lnTo>
                  <a:lnTo>
                    <a:pt x="1445" y="929"/>
                  </a:lnTo>
                  <a:lnTo>
                    <a:pt x="1474" y="949"/>
                  </a:lnTo>
                  <a:lnTo>
                    <a:pt x="1498" y="973"/>
                  </a:lnTo>
                  <a:lnTo>
                    <a:pt x="1516" y="1001"/>
                  </a:lnTo>
                  <a:lnTo>
                    <a:pt x="1532" y="1031"/>
                  </a:lnTo>
                  <a:lnTo>
                    <a:pt x="1540" y="1062"/>
                  </a:lnTo>
                  <a:lnTo>
                    <a:pt x="1546" y="1096"/>
                  </a:lnTo>
                  <a:lnTo>
                    <a:pt x="1548" y="1130"/>
                  </a:lnTo>
                  <a:lnTo>
                    <a:pt x="1548" y="1667"/>
                  </a:lnTo>
                  <a:lnTo>
                    <a:pt x="1354" y="1667"/>
                  </a:lnTo>
                  <a:lnTo>
                    <a:pt x="1354" y="1130"/>
                  </a:lnTo>
                  <a:lnTo>
                    <a:pt x="1352" y="1104"/>
                  </a:lnTo>
                  <a:lnTo>
                    <a:pt x="1342" y="1084"/>
                  </a:lnTo>
                  <a:lnTo>
                    <a:pt x="1326" y="1068"/>
                  </a:lnTo>
                  <a:lnTo>
                    <a:pt x="1304" y="1060"/>
                  </a:lnTo>
                  <a:lnTo>
                    <a:pt x="1274" y="1056"/>
                  </a:lnTo>
                  <a:lnTo>
                    <a:pt x="1114" y="1056"/>
                  </a:lnTo>
                  <a:lnTo>
                    <a:pt x="1114" y="1667"/>
                  </a:lnTo>
                  <a:lnTo>
                    <a:pt x="920" y="1667"/>
                  </a:lnTo>
                  <a:lnTo>
                    <a:pt x="920" y="900"/>
                  </a:lnTo>
                  <a:close/>
                  <a:moveTo>
                    <a:pt x="551" y="900"/>
                  </a:moveTo>
                  <a:lnTo>
                    <a:pt x="747" y="900"/>
                  </a:lnTo>
                  <a:lnTo>
                    <a:pt x="747" y="1675"/>
                  </a:lnTo>
                  <a:lnTo>
                    <a:pt x="702" y="1667"/>
                  </a:lnTo>
                  <a:lnTo>
                    <a:pt x="662" y="1655"/>
                  </a:lnTo>
                  <a:lnTo>
                    <a:pt x="630" y="1637"/>
                  </a:lnTo>
                  <a:lnTo>
                    <a:pt x="604" y="1617"/>
                  </a:lnTo>
                  <a:lnTo>
                    <a:pt x="585" y="1591"/>
                  </a:lnTo>
                  <a:lnTo>
                    <a:pt x="569" y="1564"/>
                  </a:lnTo>
                  <a:lnTo>
                    <a:pt x="559" y="1534"/>
                  </a:lnTo>
                  <a:lnTo>
                    <a:pt x="553" y="1502"/>
                  </a:lnTo>
                  <a:lnTo>
                    <a:pt x="551" y="1468"/>
                  </a:lnTo>
                  <a:lnTo>
                    <a:pt x="551" y="900"/>
                  </a:lnTo>
                  <a:close/>
                  <a:moveTo>
                    <a:pt x="2442" y="886"/>
                  </a:moveTo>
                  <a:lnTo>
                    <a:pt x="2501" y="892"/>
                  </a:lnTo>
                  <a:lnTo>
                    <a:pt x="2557" y="906"/>
                  </a:lnTo>
                  <a:lnTo>
                    <a:pt x="2604" y="928"/>
                  </a:lnTo>
                  <a:lnTo>
                    <a:pt x="2646" y="959"/>
                  </a:lnTo>
                  <a:lnTo>
                    <a:pt x="2683" y="997"/>
                  </a:lnTo>
                  <a:lnTo>
                    <a:pt x="2713" y="1042"/>
                  </a:lnTo>
                  <a:lnTo>
                    <a:pt x="2737" y="1092"/>
                  </a:lnTo>
                  <a:lnTo>
                    <a:pt x="2755" y="1147"/>
                  </a:lnTo>
                  <a:lnTo>
                    <a:pt x="2765" y="1209"/>
                  </a:lnTo>
                  <a:lnTo>
                    <a:pt x="2769" y="1272"/>
                  </a:lnTo>
                  <a:lnTo>
                    <a:pt x="2769" y="1344"/>
                  </a:lnTo>
                  <a:lnTo>
                    <a:pt x="2275" y="1344"/>
                  </a:lnTo>
                  <a:lnTo>
                    <a:pt x="2279" y="1383"/>
                  </a:lnTo>
                  <a:lnTo>
                    <a:pt x="2291" y="1421"/>
                  </a:lnTo>
                  <a:lnTo>
                    <a:pt x="2309" y="1453"/>
                  </a:lnTo>
                  <a:lnTo>
                    <a:pt x="2335" y="1478"/>
                  </a:lnTo>
                  <a:lnTo>
                    <a:pt x="2366" y="1498"/>
                  </a:lnTo>
                  <a:lnTo>
                    <a:pt x="2404" y="1510"/>
                  </a:lnTo>
                  <a:lnTo>
                    <a:pt x="2448" y="1514"/>
                  </a:lnTo>
                  <a:lnTo>
                    <a:pt x="2487" y="1512"/>
                  </a:lnTo>
                  <a:lnTo>
                    <a:pt x="2521" y="1506"/>
                  </a:lnTo>
                  <a:lnTo>
                    <a:pt x="2551" y="1496"/>
                  </a:lnTo>
                  <a:lnTo>
                    <a:pt x="2576" y="1482"/>
                  </a:lnTo>
                  <a:lnTo>
                    <a:pt x="2602" y="1465"/>
                  </a:lnTo>
                  <a:lnTo>
                    <a:pt x="2626" y="1443"/>
                  </a:lnTo>
                  <a:lnTo>
                    <a:pt x="2747" y="1556"/>
                  </a:lnTo>
                  <a:lnTo>
                    <a:pt x="2713" y="1587"/>
                  </a:lnTo>
                  <a:lnTo>
                    <a:pt x="2677" y="1613"/>
                  </a:lnTo>
                  <a:lnTo>
                    <a:pt x="2640" y="1637"/>
                  </a:lnTo>
                  <a:lnTo>
                    <a:pt x="2600" y="1655"/>
                  </a:lnTo>
                  <a:lnTo>
                    <a:pt x="2555" y="1667"/>
                  </a:lnTo>
                  <a:lnTo>
                    <a:pt x="2503" y="1675"/>
                  </a:lnTo>
                  <a:lnTo>
                    <a:pt x="2446" y="1679"/>
                  </a:lnTo>
                  <a:lnTo>
                    <a:pt x="2400" y="1677"/>
                  </a:lnTo>
                  <a:lnTo>
                    <a:pt x="2354" y="1669"/>
                  </a:lnTo>
                  <a:lnTo>
                    <a:pt x="2311" y="1659"/>
                  </a:lnTo>
                  <a:lnTo>
                    <a:pt x="2269" y="1641"/>
                  </a:lnTo>
                  <a:lnTo>
                    <a:pt x="2232" y="1619"/>
                  </a:lnTo>
                  <a:lnTo>
                    <a:pt x="2194" y="1591"/>
                  </a:lnTo>
                  <a:lnTo>
                    <a:pt x="2162" y="1556"/>
                  </a:lnTo>
                  <a:lnTo>
                    <a:pt x="2136" y="1516"/>
                  </a:lnTo>
                  <a:lnTo>
                    <a:pt x="2113" y="1468"/>
                  </a:lnTo>
                  <a:lnTo>
                    <a:pt x="2097" y="1413"/>
                  </a:lnTo>
                  <a:lnTo>
                    <a:pt x="2087" y="1352"/>
                  </a:lnTo>
                  <a:lnTo>
                    <a:pt x="2083" y="1282"/>
                  </a:lnTo>
                  <a:lnTo>
                    <a:pt x="2087" y="1215"/>
                  </a:lnTo>
                  <a:lnTo>
                    <a:pt x="2097" y="1155"/>
                  </a:lnTo>
                  <a:lnTo>
                    <a:pt x="2115" y="1100"/>
                  </a:lnTo>
                  <a:lnTo>
                    <a:pt x="2138" y="1050"/>
                  </a:lnTo>
                  <a:lnTo>
                    <a:pt x="2168" y="1009"/>
                  </a:lnTo>
                  <a:lnTo>
                    <a:pt x="2204" y="971"/>
                  </a:lnTo>
                  <a:lnTo>
                    <a:pt x="2243" y="941"/>
                  </a:lnTo>
                  <a:lnTo>
                    <a:pt x="2289" y="918"/>
                  </a:lnTo>
                  <a:lnTo>
                    <a:pt x="2337" y="900"/>
                  </a:lnTo>
                  <a:lnTo>
                    <a:pt x="2388" y="890"/>
                  </a:lnTo>
                  <a:lnTo>
                    <a:pt x="2442" y="886"/>
                  </a:lnTo>
                  <a:close/>
                  <a:moveTo>
                    <a:pt x="412" y="713"/>
                  </a:moveTo>
                  <a:lnTo>
                    <a:pt x="412" y="815"/>
                  </a:lnTo>
                  <a:lnTo>
                    <a:pt x="357" y="882"/>
                  </a:lnTo>
                  <a:lnTo>
                    <a:pt x="305" y="957"/>
                  </a:lnTo>
                  <a:lnTo>
                    <a:pt x="258" y="1038"/>
                  </a:lnTo>
                  <a:lnTo>
                    <a:pt x="218" y="1124"/>
                  </a:lnTo>
                  <a:lnTo>
                    <a:pt x="186" y="1215"/>
                  </a:lnTo>
                  <a:lnTo>
                    <a:pt x="164" y="1308"/>
                  </a:lnTo>
                  <a:lnTo>
                    <a:pt x="151" y="1405"/>
                  </a:lnTo>
                  <a:lnTo>
                    <a:pt x="151" y="1500"/>
                  </a:lnTo>
                  <a:lnTo>
                    <a:pt x="161" y="1597"/>
                  </a:lnTo>
                  <a:lnTo>
                    <a:pt x="180" y="1677"/>
                  </a:lnTo>
                  <a:lnTo>
                    <a:pt x="210" y="1752"/>
                  </a:lnTo>
                  <a:lnTo>
                    <a:pt x="246" y="1819"/>
                  </a:lnTo>
                  <a:lnTo>
                    <a:pt x="291" y="1881"/>
                  </a:lnTo>
                  <a:lnTo>
                    <a:pt x="343" y="1936"/>
                  </a:lnTo>
                  <a:lnTo>
                    <a:pt x="402" y="1988"/>
                  </a:lnTo>
                  <a:lnTo>
                    <a:pt x="468" y="2033"/>
                  </a:lnTo>
                  <a:lnTo>
                    <a:pt x="539" y="2073"/>
                  </a:lnTo>
                  <a:lnTo>
                    <a:pt x="614" y="2109"/>
                  </a:lnTo>
                  <a:lnTo>
                    <a:pt x="696" y="2140"/>
                  </a:lnTo>
                  <a:lnTo>
                    <a:pt x="783" y="2166"/>
                  </a:lnTo>
                  <a:lnTo>
                    <a:pt x="872" y="2188"/>
                  </a:lnTo>
                  <a:lnTo>
                    <a:pt x="967" y="2206"/>
                  </a:lnTo>
                  <a:lnTo>
                    <a:pt x="1064" y="2220"/>
                  </a:lnTo>
                  <a:lnTo>
                    <a:pt x="1163" y="2229"/>
                  </a:lnTo>
                  <a:lnTo>
                    <a:pt x="1266" y="2235"/>
                  </a:lnTo>
                  <a:lnTo>
                    <a:pt x="1369" y="2237"/>
                  </a:lnTo>
                  <a:lnTo>
                    <a:pt x="1474" y="2237"/>
                  </a:lnTo>
                  <a:lnTo>
                    <a:pt x="1581" y="2235"/>
                  </a:lnTo>
                  <a:lnTo>
                    <a:pt x="1689" y="2229"/>
                  </a:lnTo>
                  <a:lnTo>
                    <a:pt x="1796" y="2220"/>
                  </a:lnTo>
                  <a:lnTo>
                    <a:pt x="1934" y="2204"/>
                  </a:lnTo>
                  <a:lnTo>
                    <a:pt x="2079" y="2180"/>
                  </a:lnTo>
                  <a:lnTo>
                    <a:pt x="2224" y="2152"/>
                  </a:lnTo>
                  <a:lnTo>
                    <a:pt x="2370" y="2116"/>
                  </a:lnTo>
                  <a:lnTo>
                    <a:pt x="2513" y="2077"/>
                  </a:lnTo>
                  <a:lnTo>
                    <a:pt x="2654" y="2031"/>
                  </a:lnTo>
                  <a:lnTo>
                    <a:pt x="2786" y="1982"/>
                  </a:lnTo>
                  <a:lnTo>
                    <a:pt x="2913" y="1930"/>
                  </a:lnTo>
                  <a:lnTo>
                    <a:pt x="3032" y="1873"/>
                  </a:lnTo>
                  <a:lnTo>
                    <a:pt x="3137" y="1815"/>
                  </a:lnTo>
                  <a:lnTo>
                    <a:pt x="3137" y="2101"/>
                  </a:lnTo>
                  <a:lnTo>
                    <a:pt x="3022" y="2160"/>
                  </a:lnTo>
                  <a:lnTo>
                    <a:pt x="2901" y="2214"/>
                  </a:lnTo>
                  <a:lnTo>
                    <a:pt x="2773" y="2263"/>
                  </a:lnTo>
                  <a:lnTo>
                    <a:pt x="2638" y="2307"/>
                  </a:lnTo>
                  <a:lnTo>
                    <a:pt x="2503" y="2346"/>
                  </a:lnTo>
                  <a:lnTo>
                    <a:pt x="2364" y="2382"/>
                  </a:lnTo>
                  <a:lnTo>
                    <a:pt x="2228" y="2412"/>
                  </a:lnTo>
                  <a:lnTo>
                    <a:pt x="2095" y="2438"/>
                  </a:lnTo>
                  <a:lnTo>
                    <a:pt x="1964" y="2457"/>
                  </a:lnTo>
                  <a:lnTo>
                    <a:pt x="1839" y="2471"/>
                  </a:lnTo>
                  <a:lnTo>
                    <a:pt x="1673" y="2485"/>
                  </a:lnTo>
                  <a:lnTo>
                    <a:pt x="1512" y="2491"/>
                  </a:lnTo>
                  <a:lnTo>
                    <a:pt x="1360" y="2489"/>
                  </a:lnTo>
                  <a:lnTo>
                    <a:pt x="1215" y="2481"/>
                  </a:lnTo>
                  <a:lnTo>
                    <a:pt x="1076" y="2465"/>
                  </a:lnTo>
                  <a:lnTo>
                    <a:pt x="945" y="2445"/>
                  </a:lnTo>
                  <a:lnTo>
                    <a:pt x="820" y="2418"/>
                  </a:lnTo>
                  <a:lnTo>
                    <a:pt x="706" y="2384"/>
                  </a:lnTo>
                  <a:lnTo>
                    <a:pt x="599" y="2344"/>
                  </a:lnTo>
                  <a:lnTo>
                    <a:pt x="499" y="2299"/>
                  </a:lnTo>
                  <a:lnTo>
                    <a:pt x="408" y="2247"/>
                  </a:lnTo>
                  <a:lnTo>
                    <a:pt x="327" y="2190"/>
                  </a:lnTo>
                  <a:lnTo>
                    <a:pt x="254" y="2128"/>
                  </a:lnTo>
                  <a:lnTo>
                    <a:pt x="188" y="2061"/>
                  </a:lnTo>
                  <a:lnTo>
                    <a:pt x="135" y="1990"/>
                  </a:lnTo>
                  <a:lnTo>
                    <a:pt x="89" y="1912"/>
                  </a:lnTo>
                  <a:lnTo>
                    <a:pt x="54" y="1831"/>
                  </a:lnTo>
                  <a:lnTo>
                    <a:pt x="28" y="1746"/>
                  </a:lnTo>
                  <a:lnTo>
                    <a:pt x="8" y="1645"/>
                  </a:lnTo>
                  <a:lnTo>
                    <a:pt x="0" y="1546"/>
                  </a:lnTo>
                  <a:lnTo>
                    <a:pt x="2" y="1451"/>
                  </a:lnTo>
                  <a:lnTo>
                    <a:pt x="14" y="1358"/>
                  </a:lnTo>
                  <a:lnTo>
                    <a:pt x="36" y="1266"/>
                  </a:lnTo>
                  <a:lnTo>
                    <a:pt x="65" y="1179"/>
                  </a:lnTo>
                  <a:lnTo>
                    <a:pt x="105" y="1094"/>
                  </a:lnTo>
                  <a:lnTo>
                    <a:pt x="153" y="1013"/>
                  </a:lnTo>
                  <a:lnTo>
                    <a:pt x="206" y="933"/>
                  </a:lnTo>
                  <a:lnTo>
                    <a:pt x="270" y="858"/>
                  </a:lnTo>
                  <a:lnTo>
                    <a:pt x="337" y="785"/>
                  </a:lnTo>
                  <a:lnTo>
                    <a:pt x="412" y="713"/>
                  </a:lnTo>
                  <a:close/>
                  <a:moveTo>
                    <a:pt x="1692" y="690"/>
                  </a:moveTo>
                  <a:lnTo>
                    <a:pt x="1887" y="690"/>
                  </a:lnTo>
                  <a:lnTo>
                    <a:pt x="1887" y="900"/>
                  </a:lnTo>
                  <a:lnTo>
                    <a:pt x="2033" y="900"/>
                  </a:lnTo>
                  <a:lnTo>
                    <a:pt x="2033" y="1056"/>
                  </a:lnTo>
                  <a:lnTo>
                    <a:pt x="1887" y="1056"/>
                  </a:lnTo>
                  <a:lnTo>
                    <a:pt x="1887" y="1435"/>
                  </a:lnTo>
                  <a:lnTo>
                    <a:pt x="1891" y="1459"/>
                  </a:lnTo>
                  <a:lnTo>
                    <a:pt x="1899" y="1478"/>
                  </a:lnTo>
                  <a:lnTo>
                    <a:pt x="1910" y="1492"/>
                  </a:lnTo>
                  <a:lnTo>
                    <a:pt x="1930" y="1500"/>
                  </a:lnTo>
                  <a:lnTo>
                    <a:pt x="1954" y="1504"/>
                  </a:lnTo>
                  <a:lnTo>
                    <a:pt x="2033" y="1504"/>
                  </a:lnTo>
                  <a:lnTo>
                    <a:pt x="2033" y="1665"/>
                  </a:lnTo>
                  <a:lnTo>
                    <a:pt x="1918" y="1665"/>
                  </a:lnTo>
                  <a:lnTo>
                    <a:pt x="1869" y="1661"/>
                  </a:lnTo>
                  <a:lnTo>
                    <a:pt x="1827" y="1651"/>
                  </a:lnTo>
                  <a:lnTo>
                    <a:pt x="1790" y="1633"/>
                  </a:lnTo>
                  <a:lnTo>
                    <a:pt x="1760" y="1609"/>
                  </a:lnTo>
                  <a:lnTo>
                    <a:pt x="1736" y="1581"/>
                  </a:lnTo>
                  <a:lnTo>
                    <a:pt x="1716" y="1552"/>
                  </a:lnTo>
                  <a:lnTo>
                    <a:pt x="1704" y="1518"/>
                  </a:lnTo>
                  <a:lnTo>
                    <a:pt x="1696" y="1482"/>
                  </a:lnTo>
                  <a:lnTo>
                    <a:pt x="1692" y="1447"/>
                  </a:lnTo>
                  <a:lnTo>
                    <a:pt x="1692" y="690"/>
                  </a:lnTo>
                  <a:close/>
                  <a:moveTo>
                    <a:pt x="551" y="608"/>
                  </a:moveTo>
                  <a:lnTo>
                    <a:pt x="745" y="608"/>
                  </a:lnTo>
                  <a:lnTo>
                    <a:pt x="745" y="793"/>
                  </a:lnTo>
                  <a:lnTo>
                    <a:pt x="551" y="793"/>
                  </a:lnTo>
                  <a:lnTo>
                    <a:pt x="551" y="608"/>
                  </a:lnTo>
                  <a:close/>
                  <a:moveTo>
                    <a:pt x="2882" y="581"/>
                  </a:moveTo>
                  <a:lnTo>
                    <a:pt x="3078" y="581"/>
                  </a:lnTo>
                  <a:lnTo>
                    <a:pt x="3078" y="1659"/>
                  </a:lnTo>
                  <a:lnTo>
                    <a:pt x="3032" y="1651"/>
                  </a:lnTo>
                  <a:lnTo>
                    <a:pt x="2995" y="1639"/>
                  </a:lnTo>
                  <a:lnTo>
                    <a:pt x="2961" y="1621"/>
                  </a:lnTo>
                  <a:lnTo>
                    <a:pt x="2935" y="1599"/>
                  </a:lnTo>
                  <a:lnTo>
                    <a:pt x="2915" y="1575"/>
                  </a:lnTo>
                  <a:lnTo>
                    <a:pt x="2899" y="1548"/>
                  </a:lnTo>
                  <a:lnTo>
                    <a:pt x="2889" y="1518"/>
                  </a:lnTo>
                  <a:lnTo>
                    <a:pt x="2884" y="1486"/>
                  </a:lnTo>
                  <a:lnTo>
                    <a:pt x="2882" y="1453"/>
                  </a:lnTo>
                  <a:lnTo>
                    <a:pt x="2882" y="581"/>
                  </a:lnTo>
                  <a:close/>
                  <a:moveTo>
                    <a:pt x="2396" y="0"/>
                  </a:moveTo>
                  <a:lnTo>
                    <a:pt x="2515" y="0"/>
                  </a:lnTo>
                  <a:lnTo>
                    <a:pt x="2632" y="6"/>
                  </a:lnTo>
                  <a:lnTo>
                    <a:pt x="2745" y="16"/>
                  </a:lnTo>
                  <a:lnTo>
                    <a:pt x="2856" y="32"/>
                  </a:lnTo>
                  <a:lnTo>
                    <a:pt x="2963" y="52"/>
                  </a:lnTo>
                  <a:lnTo>
                    <a:pt x="3064" y="77"/>
                  </a:lnTo>
                  <a:lnTo>
                    <a:pt x="3161" y="109"/>
                  </a:lnTo>
                  <a:lnTo>
                    <a:pt x="3252" y="145"/>
                  </a:lnTo>
                  <a:lnTo>
                    <a:pt x="3339" y="186"/>
                  </a:lnTo>
                  <a:lnTo>
                    <a:pt x="3419" y="232"/>
                  </a:lnTo>
                  <a:lnTo>
                    <a:pt x="3492" y="285"/>
                  </a:lnTo>
                  <a:lnTo>
                    <a:pt x="3557" y="341"/>
                  </a:lnTo>
                  <a:lnTo>
                    <a:pt x="3615" y="404"/>
                  </a:lnTo>
                  <a:lnTo>
                    <a:pt x="3664" y="472"/>
                  </a:lnTo>
                  <a:lnTo>
                    <a:pt x="3706" y="545"/>
                  </a:lnTo>
                  <a:lnTo>
                    <a:pt x="3740" y="622"/>
                  </a:lnTo>
                  <a:lnTo>
                    <a:pt x="3761" y="708"/>
                  </a:lnTo>
                  <a:lnTo>
                    <a:pt x="3775" y="805"/>
                  </a:lnTo>
                  <a:lnTo>
                    <a:pt x="3777" y="900"/>
                  </a:lnTo>
                  <a:lnTo>
                    <a:pt x="3769" y="991"/>
                  </a:lnTo>
                  <a:lnTo>
                    <a:pt x="3750" y="1080"/>
                  </a:lnTo>
                  <a:lnTo>
                    <a:pt x="3722" y="1163"/>
                  </a:lnTo>
                  <a:lnTo>
                    <a:pt x="3684" y="1243"/>
                  </a:lnTo>
                  <a:lnTo>
                    <a:pt x="3641" y="1316"/>
                  </a:lnTo>
                  <a:lnTo>
                    <a:pt x="3591" y="1385"/>
                  </a:lnTo>
                  <a:lnTo>
                    <a:pt x="3536" y="1449"/>
                  </a:lnTo>
                  <a:lnTo>
                    <a:pt x="3476" y="1506"/>
                  </a:lnTo>
                  <a:lnTo>
                    <a:pt x="3413" y="1556"/>
                  </a:lnTo>
                  <a:lnTo>
                    <a:pt x="3345" y="1599"/>
                  </a:lnTo>
                  <a:lnTo>
                    <a:pt x="3278" y="1637"/>
                  </a:lnTo>
                  <a:lnTo>
                    <a:pt x="3211" y="1665"/>
                  </a:lnTo>
                  <a:lnTo>
                    <a:pt x="3211" y="1459"/>
                  </a:lnTo>
                  <a:lnTo>
                    <a:pt x="3286" y="1409"/>
                  </a:lnTo>
                  <a:lnTo>
                    <a:pt x="3355" y="1352"/>
                  </a:lnTo>
                  <a:lnTo>
                    <a:pt x="3415" y="1288"/>
                  </a:lnTo>
                  <a:lnTo>
                    <a:pt x="3468" y="1221"/>
                  </a:lnTo>
                  <a:lnTo>
                    <a:pt x="3510" y="1151"/>
                  </a:lnTo>
                  <a:lnTo>
                    <a:pt x="3543" y="1076"/>
                  </a:lnTo>
                  <a:lnTo>
                    <a:pt x="3569" y="1001"/>
                  </a:lnTo>
                  <a:lnTo>
                    <a:pt x="3581" y="922"/>
                  </a:lnTo>
                  <a:lnTo>
                    <a:pt x="3585" y="842"/>
                  </a:lnTo>
                  <a:lnTo>
                    <a:pt x="3577" y="763"/>
                  </a:lnTo>
                  <a:lnTo>
                    <a:pt x="3557" y="684"/>
                  </a:lnTo>
                  <a:lnTo>
                    <a:pt x="3530" y="610"/>
                  </a:lnTo>
                  <a:lnTo>
                    <a:pt x="3490" y="541"/>
                  </a:lnTo>
                  <a:lnTo>
                    <a:pt x="3444" y="478"/>
                  </a:lnTo>
                  <a:lnTo>
                    <a:pt x="3389" y="420"/>
                  </a:lnTo>
                  <a:lnTo>
                    <a:pt x="3327" y="369"/>
                  </a:lnTo>
                  <a:lnTo>
                    <a:pt x="3258" y="321"/>
                  </a:lnTo>
                  <a:lnTo>
                    <a:pt x="3183" y="280"/>
                  </a:lnTo>
                  <a:lnTo>
                    <a:pt x="3100" y="244"/>
                  </a:lnTo>
                  <a:lnTo>
                    <a:pt x="3010" y="212"/>
                  </a:lnTo>
                  <a:lnTo>
                    <a:pt x="2917" y="186"/>
                  </a:lnTo>
                  <a:lnTo>
                    <a:pt x="2818" y="165"/>
                  </a:lnTo>
                  <a:lnTo>
                    <a:pt x="2715" y="149"/>
                  </a:lnTo>
                  <a:lnTo>
                    <a:pt x="2608" y="139"/>
                  </a:lnTo>
                  <a:lnTo>
                    <a:pt x="2497" y="131"/>
                  </a:lnTo>
                  <a:lnTo>
                    <a:pt x="2384" y="131"/>
                  </a:lnTo>
                  <a:lnTo>
                    <a:pt x="2267" y="133"/>
                  </a:lnTo>
                  <a:lnTo>
                    <a:pt x="2148" y="141"/>
                  </a:lnTo>
                  <a:lnTo>
                    <a:pt x="2027" y="153"/>
                  </a:lnTo>
                  <a:lnTo>
                    <a:pt x="1905" y="171"/>
                  </a:lnTo>
                  <a:lnTo>
                    <a:pt x="1782" y="192"/>
                  </a:lnTo>
                  <a:lnTo>
                    <a:pt x="1659" y="218"/>
                  </a:lnTo>
                  <a:lnTo>
                    <a:pt x="1536" y="248"/>
                  </a:lnTo>
                  <a:lnTo>
                    <a:pt x="1413" y="283"/>
                  </a:lnTo>
                  <a:lnTo>
                    <a:pt x="1292" y="321"/>
                  </a:lnTo>
                  <a:lnTo>
                    <a:pt x="1171" y="365"/>
                  </a:lnTo>
                  <a:lnTo>
                    <a:pt x="1052" y="412"/>
                  </a:lnTo>
                  <a:lnTo>
                    <a:pt x="937" y="464"/>
                  </a:lnTo>
                  <a:lnTo>
                    <a:pt x="824" y="519"/>
                  </a:lnTo>
                  <a:lnTo>
                    <a:pt x="824" y="446"/>
                  </a:lnTo>
                  <a:lnTo>
                    <a:pt x="933" y="383"/>
                  </a:lnTo>
                  <a:lnTo>
                    <a:pt x="1046" y="325"/>
                  </a:lnTo>
                  <a:lnTo>
                    <a:pt x="1163" y="270"/>
                  </a:lnTo>
                  <a:lnTo>
                    <a:pt x="1282" y="222"/>
                  </a:lnTo>
                  <a:lnTo>
                    <a:pt x="1405" y="176"/>
                  </a:lnTo>
                  <a:lnTo>
                    <a:pt x="1528" y="137"/>
                  </a:lnTo>
                  <a:lnTo>
                    <a:pt x="1651" y="103"/>
                  </a:lnTo>
                  <a:lnTo>
                    <a:pt x="1776" y="73"/>
                  </a:lnTo>
                  <a:lnTo>
                    <a:pt x="1903" y="50"/>
                  </a:lnTo>
                  <a:lnTo>
                    <a:pt x="2027" y="30"/>
                  </a:lnTo>
                  <a:lnTo>
                    <a:pt x="2150" y="14"/>
                  </a:lnTo>
                  <a:lnTo>
                    <a:pt x="2273" y="4"/>
                  </a:lnTo>
                  <a:lnTo>
                    <a:pt x="23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 dirty="0"/>
            </a:p>
          </p:txBody>
        </p:sp>
        <p:sp>
          <p:nvSpPr>
            <p:cNvPr id="17" name="Freeform 37"/>
            <p:cNvSpPr>
              <a:spLocks noEditPoints="1"/>
            </p:cNvSpPr>
            <p:nvPr userDrawn="1"/>
          </p:nvSpPr>
          <p:spPr bwMode="auto">
            <a:xfrm>
              <a:off x="1513181" y="577858"/>
              <a:ext cx="52243" cy="51581"/>
            </a:xfrm>
            <a:custGeom>
              <a:avLst/>
              <a:gdLst>
                <a:gd name="T0" fmla="*/ 61 w 156"/>
                <a:gd name="T1" fmla="*/ 73 h 156"/>
                <a:gd name="T2" fmla="*/ 69 w 156"/>
                <a:gd name="T3" fmla="*/ 73 h 156"/>
                <a:gd name="T4" fmla="*/ 75 w 156"/>
                <a:gd name="T5" fmla="*/ 73 h 156"/>
                <a:gd name="T6" fmla="*/ 87 w 156"/>
                <a:gd name="T7" fmla="*/ 71 h 156"/>
                <a:gd name="T8" fmla="*/ 93 w 156"/>
                <a:gd name="T9" fmla="*/ 65 h 156"/>
                <a:gd name="T10" fmla="*/ 93 w 156"/>
                <a:gd name="T11" fmla="*/ 57 h 156"/>
                <a:gd name="T12" fmla="*/ 89 w 156"/>
                <a:gd name="T13" fmla="*/ 49 h 156"/>
                <a:gd name="T14" fmla="*/ 81 w 156"/>
                <a:gd name="T15" fmla="*/ 45 h 156"/>
                <a:gd name="T16" fmla="*/ 61 w 156"/>
                <a:gd name="T17" fmla="*/ 45 h 156"/>
                <a:gd name="T18" fmla="*/ 89 w 156"/>
                <a:gd name="T19" fmla="*/ 29 h 156"/>
                <a:gd name="T20" fmla="*/ 109 w 156"/>
                <a:gd name="T21" fmla="*/ 43 h 156"/>
                <a:gd name="T22" fmla="*/ 111 w 156"/>
                <a:gd name="T23" fmla="*/ 59 h 156"/>
                <a:gd name="T24" fmla="*/ 109 w 156"/>
                <a:gd name="T25" fmla="*/ 73 h 156"/>
                <a:gd name="T26" fmla="*/ 99 w 156"/>
                <a:gd name="T27" fmla="*/ 81 h 156"/>
                <a:gd name="T28" fmla="*/ 114 w 156"/>
                <a:gd name="T29" fmla="*/ 119 h 156"/>
                <a:gd name="T30" fmla="*/ 114 w 156"/>
                <a:gd name="T31" fmla="*/ 123 h 156"/>
                <a:gd name="T32" fmla="*/ 113 w 156"/>
                <a:gd name="T33" fmla="*/ 125 h 156"/>
                <a:gd name="T34" fmla="*/ 97 w 156"/>
                <a:gd name="T35" fmla="*/ 125 h 156"/>
                <a:gd name="T36" fmla="*/ 95 w 156"/>
                <a:gd name="T37" fmla="*/ 123 h 156"/>
                <a:gd name="T38" fmla="*/ 73 w 156"/>
                <a:gd name="T39" fmla="*/ 89 h 156"/>
                <a:gd name="T40" fmla="*/ 71 w 156"/>
                <a:gd name="T41" fmla="*/ 87 h 156"/>
                <a:gd name="T42" fmla="*/ 63 w 156"/>
                <a:gd name="T43" fmla="*/ 87 h 156"/>
                <a:gd name="T44" fmla="*/ 63 w 156"/>
                <a:gd name="T45" fmla="*/ 123 h 156"/>
                <a:gd name="T46" fmla="*/ 59 w 156"/>
                <a:gd name="T47" fmla="*/ 125 h 156"/>
                <a:gd name="T48" fmla="*/ 43 w 156"/>
                <a:gd name="T49" fmla="*/ 123 h 156"/>
                <a:gd name="T50" fmla="*/ 43 w 156"/>
                <a:gd name="T51" fmla="*/ 37 h 156"/>
                <a:gd name="T52" fmla="*/ 45 w 156"/>
                <a:gd name="T53" fmla="*/ 31 h 156"/>
                <a:gd name="T54" fmla="*/ 53 w 156"/>
                <a:gd name="T55" fmla="*/ 29 h 156"/>
                <a:gd name="T56" fmla="*/ 67 w 156"/>
                <a:gd name="T57" fmla="*/ 27 h 156"/>
                <a:gd name="T58" fmla="*/ 77 w 156"/>
                <a:gd name="T59" fmla="*/ 14 h 156"/>
                <a:gd name="T60" fmla="*/ 31 w 156"/>
                <a:gd name="T61" fmla="*/ 31 h 156"/>
                <a:gd name="T62" fmla="*/ 13 w 156"/>
                <a:gd name="T63" fmla="*/ 79 h 156"/>
                <a:gd name="T64" fmla="*/ 31 w 156"/>
                <a:gd name="T65" fmla="*/ 123 h 156"/>
                <a:gd name="T66" fmla="*/ 77 w 156"/>
                <a:gd name="T67" fmla="*/ 142 h 156"/>
                <a:gd name="T68" fmla="*/ 122 w 156"/>
                <a:gd name="T69" fmla="*/ 123 h 156"/>
                <a:gd name="T70" fmla="*/ 142 w 156"/>
                <a:gd name="T71" fmla="*/ 79 h 156"/>
                <a:gd name="T72" fmla="*/ 122 w 156"/>
                <a:gd name="T73" fmla="*/ 31 h 156"/>
                <a:gd name="T74" fmla="*/ 77 w 156"/>
                <a:gd name="T75" fmla="*/ 14 h 156"/>
                <a:gd name="T76" fmla="*/ 103 w 156"/>
                <a:gd name="T77" fmla="*/ 4 h 156"/>
                <a:gd name="T78" fmla="*/ 140 w 156"/>
                <a:gd name="T79" fmla="*/ 31 h 156"/>
                <a:gd name="T80" fmla="*/ 156 w 156"/>
                <a:gd name="T81" fmla="*/ 79 h 156"/>
                <a:gd name="T82" fmla="*/ 140 w 156"/>
                <a:gd name="T83" fmla="*/ 125 h 156"/>
                <a:gd name="T84" fmla="*/ 103 w 156"/>
                <a:gd name="T85" fmla="*/ 152 h 156"/>
                <a:gd name="T86" fmla="*/ 53 w 156"/>
                <a:gd name="T87" fmla="*/ 152 h 156"/>
                <a:gd name="T88" fmla="*/ 13 w 156"/>
                <a:gd name="T89" fmla="*/ 125 h 156"/>
                <a:gd name="T90" fmla="*/ 0 w 156"/>
                <a:gd name="T91" fmla="*/ 79 h 156"/>
                <a:gd name="T92" fmla="*/ 13 w 156"/>
                <a:gd name="T93" fmla="*/ 31 h 156"/>
                <a:gd name="T94" fmla="*/ 53 w 156"/>
                <a:gd name="T95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" h="156">
                  <a:moveTo>
                    <a:pt x="61" y="45"/>
                  </a:moveTo>
                  <a:lnTo>
                    <a:pt x="61" y="73"/>
                  </a:lnTo>
                  <a:lnTo>
                    <a:pt x="65" y="73"/>
                  </a:lnTo>
                  <a:lnTo>
                    <a:pt x="69" y="73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81" y="73"/>
                  </a:lnTo>
                  <a:lnTo>
                    <a:pt x="87" y="71"/>
                  </a:lnTo>
                  <a:lnTo>
                    <a:pt x="89" y="67"/>
                  </a:lnTo>
                  <a:lnTo>
                    <a:pt x="93" y="65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3" y="53"/>
                  </a:lnTo>
                  <a:lnTo>
                    <a:pt x="89" y="49"/>
                  </a:lnTo>
                  <a:lnTo>
                    <a:pt x="87" y="47"/>
                  </a:lnTo>
                  <a:lnTo>
                    <a:pt x="81" y="45"/>
                  </a:lnTo>
                  <a:lnTo>
                    <a:pt x="75" y="45"/>
                  </a:lnTo>
                  <a:lnTo>
                    <a:pt x="61" y="45"/>
                  </a:lnTo>
                  <a:close/>
                  <a:moveTo>
                    <a:pt x="73" y="27"/>
                  </a:moveTo>
                  <a:lnTo>
                    <a:pt x="89" y="29"/>
                  </a:lnTo>
                  <a:lnTo>
                    <a:pt x="101" y="35"/>
                  </a:lnTo>
                  <a:lnTo>
                    <a:pt x="109" y="43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67"/>
                  </a:lnTo>
                  <a:lnTo>
                    <a:pt x="109" y="73"/>
                  </a:lnTo>
                  <a:lnTo>
                    <a:pt x="105" y="79"/>
                  </a:lnTo>
                  <a:lnTo>
                    <a:pt x="99" y="81"/>
                  </a:lnTo>
                  <a:lnTo>
                    <a:pt x="93" y="85"/>
                  </a:lnTo>
                  <a:lnTo>
                    <a:pt x="114" y="119"/>
                  </a:lnTo>
                  <a:lnTo>
                    <a:pt x="114" y="121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3" y="125"/>
                  </a:lnTo>
                  <a:lnTo>
                    <a:pt x="111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69" y="87"/>
                  </a:lnTo>
                  <a:lnTo>
                    <a:pt x="63" y="87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45" y="125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3" y="37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9" y="29"/>
                  </a:lnTo>
                  <a:lnTo>
                    <a:pt x="53" y="29"/>
                  </a:lnTo>
                  <a:lnTo>
                    <a:pt x="59" y="29"/>
                  </a:lnTo>
                  <a:lnTo>
                    <a:pt x="67" y="27"/>
                  </a:lnTo>
                  <a:lnTo>
                    <a:pt x="73" y="27"/>
                  </a:lnTo>
                  <a:close/>
                  <a:moveTo>
                    <a:pt x="77" y="14"/>
                  </a:moveTo>
                  <a:lnTo>
                    <a:pt x="51" y="18"/>
                  </a:lnTo>
                  <a:lnTo>
                    <a:pt x="31" y="31"/>
                  </a:lnTo>
                  <a:lnTo>
                    <a:pt x="17" y="53"/>
                  </a:lnTo>
                  <a:lnTo>
                    <a:pt x="13" y="79"/>
                  </a:lnTo>
                  <a:lnTo>
                    <a:pt x="17" y="103"/>
                  </a:lnTo>
                  <a:lnTo>
                    <a:pt x="31" y="123"/>
                  </a:lnTo>
                  <a:lnTo>
                    <a:pt x="51" y="136"/>
                  </a:lnTo>
                  <a:lnTo>
                    <a:pt x="77" y="142"/>
                  </a:lnTo>
                  <a:lnTo>
                    <a:pt x="103" y="136"/>
                  </a:lnTo>
                  <a:lnTo>
                    <a:pt x="122" y="123"/>
                  </a:lnTo>
                  <a:lnTo>
                    <a:pt x="136" y="103"/>
                  </a:lnTo>
                  <a:lnTo>
                    <a:pt x="142" y="79"/>
                  </a:lnTo>
                  <a:lnTo>
                    <a:pt x="136" y="53"/>
                  </a:lnTo>
                  <a:lnTo>
                    <a:pt x="122" y="31"/>
                  </a:lnTo>
                  <a:lnTo>
                    <a:pt x="103" y="18"/>
                  </a:lnTo>
                  <a:lnTo>
                    <a:pt x="77" y="14"/>
                  </a:lnTo>
                  <a:close/>
                  <a:moveTo>
                    <a:pt x="77" y="0"/>
                  </a:moveTo>
                  <a:lnTo>
                    <a:pt x="103" y="4"/>
                  </a:lnTo>
                  <a:lnTo>
                    <a:pt x="122" y="16"/>
                  </a:lnTo>
                  <a:lnTo>
                    <a:pt x="140" y="31"/>
                  </a:lnTo>
                  <a:lnTo>
                    <a:pt x="152" y="53"/>
                  </a:lnTo>
                  <a:lnTo>
                    <a:pt x="156" y="79"/>
                  </a:lnTo>
                  <a:lnTo>
                    <a:pt x="152" y="103"/>
                  </a:lnTo>
                  <a:lnTo>
                    <a:pt x="140" y="125"/>
                  </a:lnTo>
                  <a:lnTo>
                    <a:pt x="122" y="140"/>
                  </a:lnTo>
                  <a:lnTo>
                    <a:pt x="103" y="152"/>
                  </a:lnTo>
                  <a:lnTo>
                    <a:pt x="77" y="156"/>
                  </a:lnTo>
                  <a:lnTo>
                    <a:pt x="53" y="152"/>
                  </a:lnTo>
                  <a:lnTo>
                    <a:pt x="31" y="140"/>
                  </a:lnTo>
                  <a:lnTo>
                    <a:pt x="13" y="125"/>
                  </a:lnTo>
                  <a:lnTo>
                    <a:pt x="4" y="103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3" y="31"/>
                  </a:lnTo>
                  <a:lnTo>
                    <a:pt x="31" y="16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 dirty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472195" y="6520159"/>
            <a:ext cx="1329210" cy="21544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sz="800" dirty="0">
                <a:solidFill>
                  <a:srgbClr val="FFFFFF"/>
                </a:solidFill>
                <a:latin typeface="+mn-lt"/>
              </a:rPr>
              <a:t>Internet of Things Group</a:t>
            </a:r>
          </a:p>
        </p:txBody>
      </p:sp>
    </p:spTree>
    <p:extLst>
      <p:ext uri="{BB962C8B-B14F-4D97-AF65-F5344CB8AC3E}">
        <p14:creationId xmlns:p14="http://schemas.microsoft.com/office/powerpoint/2010/main" val="3424941717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70" rtl="0" eaLnBrk="1" latinLnBrk="0" hangingPunct="1">
        <a:lnSpc>
          <a:spcPct val="70000"/>
        </a:lnSpc>
        <a:spcBef>
          <a:spcPct val="0"/>
        </a:spcBef>
        <a:buNone/>
        <a:defRPr sz="58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800"/>
        </a:spcBef>
        <a:buClr>
          <a:schemeClr val="accent2"/>
        </a:buClr>
        <a:buFont typeface="Wingdings" panose="05000000000000000000" pitchFamily="2" charset="2"/>
        <a:buNone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28594" indent="-228594" algn="l" defTabSz="1219170" rtl="0" eaLnBrk="1" latinLnBrk="0" hangingPunct="1"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63539" indent="-228594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1550" indent="-228594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2133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8610" indent="-224361" algn="l" defTabSz="1219170" rtl="0" eaLnBrk="1" latinLnBrk="0" hangingPunct="1">
        <a:spcBef>
          <a:spcPts val="800"/>
        </a:spcBef>
        <a:buClr>
          <a:schemeClr val="tx2"/>
        </a:buClr>
        <a:buFont typeface="Intel Clear" panose="020B0604020203020204" pitchFamily="34" charset="0"/>
        <a:buChar char="–"/>
        <a:defRPr sz="1867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16">
          <p15:clr>
            <a:srgbClr val="F26B43"/>
          </p15:clr>
        </p15:guide>
        <p15:guide id="2" pos="264">
          <p15:clr>
            <a:srgbClr val="F26B43"/>
          </p15:clr>
        </p15:guide>
        <p15:guide id="3" pos="5496">
          <p15:clr>
            <a:srgbClr val="F26B43"/>
          </p15:clr>
        </p15:guide>
        <p15:guide id="4" orient="horz" pos="636">
          <p15:clr>
            <a:srgbClr val="F26B43"/>
          </p15:clr>
        </p15:guide>
        <p15:guide id="5" orient="horz" pos="29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ctrTitle"/>
          </p:nvPr>
        </p:nvSpPr>
        <p:spPr>
          <a:xfrm>
            <a:off x="914876" y="4036190"/>
            <a:ext cx="10368598" cy="1470025"/>
          </a:xfrm>
        </p:spPr>
        <p:txBody>
          <a:bodyPr/>
          <a:lstStyle/>
          <a:p>
            <a:r>
              <a:rPr lang="en-US" sz="5400" b="1" dirty="0"/>
              <a:t>Two-Phase Discovery Framework</a:t>
            </a:r>
          </a:p>
        </p:txBody>
      </p:sp>
      <p:sp>
        <p:nvSpPr>
          <p:cNvPr id="10" name="Untertitel 9"/>
          <p:cNvSpPr>
            <a:spLocks noGrp="1"/>
          </p:cNvSpPr>
          <p:nvPr>
            <p:ph type="subTitle" idx="1"/>
          </p:nvPr>
        </p:nvSpPr>
        <p:spPr>
          <a:xfrm>
            <a:off x="770582" y="5661248"/>
            <a:ext cx="10657184" cy="910538"/>
          </a:xfrm>
        </p:spPr>
        <p:txBody>
          <a:bodyPr>
            <a:normAutofit fontScale="70000" lnSpcReduction="20000"/>
          </a:bodyPr>
          <a:lstStyle/>
          <a:p>
            <a:r>
              <a:rPr lang="en-US" sz="4000" dirty="0"/>
              <a:t>Virtual F2F 16 March 2020</a:t>
            </a:r>
          </a:p>
          <a:p>
            <a:r>
              <a:rPr lang="en-US" sz="4000" dirty="0"/>
              <a:t>Michael McCool: Intel Principal Engineer / W3C WoT WG Co-chair</a:t>
            </a:r>
          </a:p>
        </p:txBody>
      </p:sp>
      <p:pic>
        <p:nvPicPr>
          <p:cNvPr id="11" name="Picture 4" descr="C:\Users\z0010w1v\Pictures\wot-logo.pn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7445" r="28347" b="1695"/>
          <a:stretch/>
        </p:blipFill>
        <p:spPr bwMode="auto">
          <a:xfrm>
            <a:off x="4226967" y="286214"/>
            <a:ext cx="3528392" cy="417646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2539357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092AD7-6764-453A-9434-7D5147ECC3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scovery Requiremen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E579435-624A-46CA-9339-B32D0850200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917" y="1170300"/>
            <a:ext cx="10978515" cy="5328592"/>
          </a:xfrm>
        </p:spPr>
        <p:txBody>
          <a:bodyPr>
            <a:normAutofit fontScale="92500" lnSpcReduction="10000"/>
          </a:bodyPr>
          <a:lstStyle/>
          <a:p>
            <a:r>
              <a:rPr lang="en-US" dirty="0"/>
              <a:t>Capabilities</a:t>
            </a:r>
          </a:p>
          <a:p>
            <a:pPr lvl="1"/>
            <a:r>
              <a:rPr lang="en-US" dirty="0"/>
              <a:t>Support both local and global/remote discovery (unconstrained by network domain)</a:t>
            </a:r>
          </a:p>
          <a:p>
            <a:pPr lvl="1"/>
            <a:r>
              <a:rPr lang="en-US" dirty="0"/>
              <a:t>Support “localizable” discovery (constrainable by location)</a:t>
            </a:r>
          </a:p>
          <a:p>
            <a:pPr lvl="1"/>
            <a:r>
              <a:rPr lang="en-US" dirty="0"/>
              <a:t>Support some form of “semantic query”</a:t>
            </a:r>
          </a:p>
          <a:p>
            <a:pPr lvl="1"/>
            <a:r>
              <a:rPr lang="en-US" dirty="0"/>
              <a:t>Support both</a:t>
            </a:r>
          </a:p>
          <a:p>
            <a:pPr lvl="2"/>
            <a:r>
              <a:rPr lang="en-US" dirty="0"/>
              <a:t>Directory services for searching large repositories of Things</a:t>
            </a:r>
          </a:p>
          <a:p>
            <a:pPr lvl="2"/>
            <a:r>
              <a:rPr lang="en-US" dirty="0"/>
              <a:t>Peer-to-peer (self-identifying) discovery</a:t>
            </a:r>
          </a:p>
          <a:p>
            <a:r>
              <a:rPr lang="en-US" dirty="0"/>
              <a:t>Privacy-Preserving Architecture</a:t>
            </a:r>
          </a:p>
          <a:p>
            <a:pPr lvl="1"/>
            <a:r>
              <a:rPr lang="en-US" dirty="0"/>
              <a:t>Respect device and information Lifecycle</a:t>
            </a:r>
          </a:p>
          <a:p>
            <a:pPr lvl="1"/>
            <a:r>
              <a:rPr lang="en-US" dirty="0"/>
              <a:t>Distribute TDs only to authenticated and authorized users</a:t>
            </a:r>
          </a:p>
          <a:p>
            <a:pPr lvl="1"/>
            <a:r>
              <a:rPr lang="en-US" dirty="0"/>
              <a:t>Don’t leak private data to </a:t>
            </a:r>
            <a:r>
              <a:rPr lang="en-US" dirty="0" err="1"/>
              <a:t>unauth</a:t>
            </a:r>
            <a:r>
              <a:rPr lang="en-US" dirty="0"/>
              <a:t>. users</a:t>
            </a:r>
          </a:p>
          <a:p>
            <a:pPr lvl="1"/>
            <a:r>
              <a:rPr lang="en-US" dirty="0"/>
              <a:t>Don’t leak information that can be used to INFER private information to </a:t>
            </a:r>
            <a:r>
              <a:rPr lang="en-US" dirty="0" err="1"/>
              <a:t>unauth</a:t>
            </a:r>
            <a:r>
              <a:rPr lang="en-US" dirty="0"/>
              <a:t>. users</a:t>
            </a:r>
          </a:p>
          <a:p>
            <a:r>
              <a:rPr lang="en-US" dirty="0"/>
              <a:t>Alignment with existing standards</a:t>
            </a:r>
          </a:p>
          <a:p>
            <a:pPr lvl="1"/>
            <a:r>
              <a:rPr lang="en-US" dirty="0"/>
              <a:t>E.g. IETF </a:t>
            </a:r>
            <a:r>
              <a:rPr lang="en-US" dirty="0" err="1"/>
              <a:t>CoRE</a:t>
            </a:r>
            <a:r>
              <a:rPr lang="en-US" dirty="0"/>
              <a:t> Resource Directories, </a:t>
            </a:r>
            <a:r>
              <a:rPr lang="en-US" dirty="0" err="1"/>
              <a:t>CoRE</a:t>
            </a:r>
            <a:r>
              <a:rPr lang="en-US" dirty="0"/>
              <a:t> Link Format, DID, …</a:t>
            </a:r>
          </a:p>
          <a:p>
            <a:pPr lvl="1"/>
            <a:r>
              <a:rPr lang="en-US" dirty="0"/>
              <a:t>Align with </a:t>
            </a:r>
            <a:r>
              <a:rPr lang="en-US" dirty="0" err="1"/>
              <a:t>WoT</a:t>
            </a:r>
            <a:r>
              <a:rPr lang="en-US" dirty="0"/>
              <a:t> Scripting API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F7CADE4-4BD5-480E-9FAD-FC2A1E703E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438410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A2E9E9-89D7-4C6F-998D-BC3DD99501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posal: Two-Phase Discover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E06493-B506-46BF-9F19-0C6E79F0065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918" y="1143000"/>
            <a:ext cx="10978515" cy="5454351"/>
          </a:xfrm>
        </p:spPr>
        <p:txBody>
          <a:bodyPr>
            <a:normAutofit fontScale="92500" lnSpcReduction="10000"/>
          </a:bodyPr>
          <a:lstStyle/>
          <a:p>
            <a:pPr marL="514350" indent="-514350">
              <a:buFont typeface="+mj-lt"/>
              <a:buAutoNum type="arabicPeriod"/>
            </a:pPr>
            <a:r>
              <a:rPr lang="en-US" dirty="0"/>
              <a:t>Introduction</a:t>
            </a:r>
          </a:p>
          <a:p>
            <a:pPr lvl="1"/>
            <a:r>
              <a:rPr lang="en-US" dirty="0"/>
              <a:t>“First Contact” Protocol</a:t>
            </a:r>
          </a:p>
          <a:p>
            <a:pPr lvl="2"/>
            <a:r>
              <a:rPr lang="en-US" dirty="0"/>
              <a:t>Answers the question: how to start?</a:t>
            </a:r>
          </a:p>
          <a:p>
            <a:pPr lvl="1"/>
            <a:r>
              <a:rPr lang="en-US" dirty="0"/>
              <a:t>Open</a:t>
            </a:r>
          </a:p>
          <a:p>
            <a:pPr lvl="2"/>
            <a:r>
              <a:rPr lang="en-US" dirty="0"/>
              <a:t>Can be accessed with no or limited access controls</a:t>
            </a:r>
          </a:p>
          <a:p>
            <a:pPr lvl="1"/>
            <a:r>
              <a:rPr lang="en-US" dirty="0"/>
              <a:t>Lightweight</a:t>
            </a:r>
          </a:p>
          <a:p>
            <a:pPr lvl="2"/>
            <a:r>
              <a:rPr lang="en-US" dirty="0"/>
              <a:t>Does not use significant resources on responder</a:t>
            </a:r>
          </a:p>
          <a:p>
            <a:pPr lvl="2"/>
            <a:r>
              <a:rPr lang="en-US" dirty="0"/>
              <a:t>resistant to Denial of Service attacks</a:t>
            </a:r>
          </a:p>
          <a:p>
            <a:pPr lvl="1"/>
            <a:r>
              <a:rPr lang="en-US" dirty="0"/>
              <a:t>Provides intentionally limited information</a:t>
            </a:r>
          </a:p>
          <a:p>
            <a:pPr lvl="2"/>
            <a:r>
              <a:rPr lang="en-US" dirty="0"/>
              <a:t>Avoid leaking any metadata that can be used to infer private data</a:t>
            </a:r>
          </a:p>
          <a:p>
            <a:pPr lvl="2"/>
            <a:r>
              <a:rPr lang="en-US" dirty="0"/>
              <a:t>This includes types of devices, device ids, owners, timestamps, etc.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Exploration</a:t>
            </a:r>
          </a:p>
          <a:p>
            <a:pPr lvl="1"/>
            <a:r>
              <a:rPr lang="en-US" dirty="0"/>
              <a:t>Authentication and authorization required</a:t>
            </a:r>
          </a:p>
          <a:p>
            <a:pPr lvl="1"/>
            <a:r>
              <a:rPr lang="en-US" dirty="0"/>
              <a:t>Supports more complex search capabilities</a:t>
            </a:r>
          </a:p>
          <a:p>
            <a:pPr lvl="1"/>
            <a:r>
              <a:rPr lang="en-US" dirty="0"/>
              <a:t>Provides rich metadata</a:t>
            </a:r>
          </a:p>
          <a:p>
            <a:pPr lvl="1"/>
            <a:r>
              <a:rPr lang="en-US" dirty="0"/>
              <a:t>Access controls can limit data returne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7ED7C0D-F508-4DF8-825D-60BFF6326C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89096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A2E9E9-89D7-4C6F-998D-BC3DD99501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E06493-B506-46BF-9F19-0C6E79F0065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918" y="1143000"/>
            <a:ext cx="10978515" cy="5454351"/>
          </a:xfrm>
        </p:spPr>
        <p:txBody>
          <a:bodyPr>
            <a:normAutofit fontScale="92500" lnSpcReduction="10000"/>
          </a:bodyPr>
          <a:lstStyle/>
          <a:p>
            <a:r>
              <a:rPr lang="en-US" dirty="0"/>
              <a:t>“First Contact” protocol</a:t>
            </a:r>
          </a:p>
          <a:p>
            <a:pPr lvl="1"/>
            <a:r>
              <a:rPr lang="en-US" dirty="0"/>
              <a:t>Output: Address of directory service</a:t>
            </a:r>
          </a:p>
          <a:p>
            <a:pPr lvl="1"/>
            <a:r>
              <a:rPr lang="en-US" dirty="0"/>
              <a:t>Need not be broadcast; could use well-known network services (</a:t>
            </a:r>
            <a:r>
              <a:rPr lang="en-US" dirty="0" err="1"/>
              <a:t>eg</a:t>
            </a:r>
            <a:r>
              <a:rPr lang="en-US" dirty="0"/>
              <a:t> DNS, DHCP, </a:t>
            </a:r>
            <a:r>
              <a:rPr lang="en-US" dirty="0" err="1"/>
              <a:t>etc</a:t>
            </a:r>
            <a:r>
              <a:rPr lang="en-US" dirty="0"/>
              <a:t>)</a:t>
            </a:r>
          </a:p>
          <a:p>
            <a:r>
              <a:rPr lang="en-US" dirty="0"/>
              <a:t>Address should not leak any other metadata, </a:t>
            </a:r>
            <a:r>
              <a:rPr lang="en-US" dirty="0" err="1"/>
              <a:t>eg</a:t>
            </a:r>
            <a:r>
              <a:rPr lang="en-US" dirty="0"/>
              <a:t> type of devices</a:t>
            </a:r>
          </a:p>
          <a:p>
            <a:r>
              <a:rPr lang="en-US" dirty="0"/>
              <a:t>Can have multiple mechanisms for introduction</a:t>
            </a:r>
          </a:p>
          <a:p>
            <a:pPr lvl="1"/>
            <a:r>
              <a:rPr lang="en-US" dirty="0"/>
              <a:t>Local: QR code, </a:t>
            </a:r>
            <a:r>
              <a:rPr lang="en-US" dirty="0" err="1"/>
              <a:t>mDNS</a:t>
            </a:r>
            <a:r>
              <a:rPr lang="en-US" dirty="0"/>
              <a:t>, DNS-SD, DHCP, Bluetooth beacons (</a:t>
            </a:r>
            <a:r>
              <a:rPr lang="en-US" dirty="0" err="1"/>
              <a:t>Eddystone</a:t>
            </a:r>
            <a:r>
              <a:rPr lang="en-US" dirty="0"/>
              <a:t>), etc.</a:t>
            </a:r>
          </a:p>
          <a:p>
            <a:pPr lvl="1"/>
            <a:r>
              <a:rPr lang="en-US" dirty="0"/>
              <a:t>Global: Search engine, well-known global repositories, company repositories, cities, etc.</a:t>
            </a:r>
          </a:p>
          <a:p>
            <a:pPr lvl="1"/>
            <a:r>
              <a:rPr lang="en-US" dirty="0"/>
              <a:t>Self: Well-known addresses, </a:t>
            </a:r>
            <a:r>
              <a:rPr lang="en-US" dirty="0" err="1"/>
              <a:t>eg</a:t>
            </a:r>
            <a:r>
              <a:rPr lang="en-US" dirty="0"/>
              <a:t> “.well-known/td”</a:t>
            </a:r>
          </a:p>
          <a:p>
            <a:r>
              <a:rPr lang="en-US" dirty="0"/>
              <a:t>Existing mechanisms that have lists of typed links can also be used here: </a:t>
            </a:r>
          </a:p>
          <a:p>
            <a:pPr lvl="1"/>
            <a:r>
              <a:rPr lang="en-US" dirty="0" err="1"/>
              <a:t>CoRE</a:t>
            </a:r>
            <a:r>
              <a:rPr lang="en-US" dirty="0"/>
              <a:t> RD, DID Documents, DNS, etc.</a:t>
            </a:r>
          </a:p>
          <a:p>
            <a:pPr lvl="1"/>
            <a:r>
              <a:rPr lang="en-US" dirty="0"/>
              <a:t>Use these to find directories rather than to distribute metadata directly</a:t>
            </a:r>
          </a:p>
          <a:p>
            <a:r>
              <a:rPr lang="en-US" i="1" dirty="0"/>
              <a:t>May</a:t>
            </a:r>
            <a:r>
              <a:rPr lang="en-US" dirty="0"/>
              <a:t> in some cases point directly at a Thing Description</a:t>
            </a:r>
          </a:p>
          <a:p>
            <a:pPr lvl="1"/>
            <a:r>
              <a:rPr lang="en-US" dirty="0"/>
              <a:t>Degenerate case: like a “directory” has only one TD</a:t>
            </a:r>
          </a:p>
          <a:p>
            <a:pPr lvl="1"/>
            <a:r>
              <a:rPr lang="en-US" dirty="0"/>
              <a:t>Still requires authentication in principle to access conte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7ED7C0D-F508-4DF8-825D-60BFF6326C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103863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A2E9E9-89D7-4C6F-998D-BC3DD99501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lor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E06493-B506-46BF-9F19-0C6E79F0065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918" y="1143000"/>
            <a:ext cx="10978515" cy="5454351"/>
          </a:xfrm>
        </p:spPr>
        <p:txBody>
          <a:bodyPr>
            <a:normAutofit/>
          </a:bodyPr>
          <a:lstStyle/>
          <a:p>
            <a:r>
              <a:rPr lang="en-US" dirty="0"/>
              <a:t>Authentication required, and then…</a:t>
            </a:r>
          </a:p>
          <a:p>
            <a:r>
              <a:rPr lang="en-US" dirty="0" err="1"/>
              <a:t>Queryable</a:t>
            </a:r>
            <a:r>
              <a:rPr lang="en-US" dirty="0"/>
              <a:t> Directory service</a:t>
            </a:r>
          </a:p>
          <a:p>
            <a:pPr lvl="1"/>
            <a:r>
              <a:rPr lang="en-US" dirty="0"/>
              <a:t>Lightweight: specific query parameters, </a:t>
            </a:r>
            <a:r>
              <a:rPr lang="en-US" dirty="0" err="1"/>
              <a:t>eg.</a:t>
            </a:r>
            <a:r>
              <a:rPr lang="en-US" dirty="0"/>
              <a:t> location, keywords</a:t>
            </a:r>
          </a:p>
          <a:p>
            <a:pPr lvl="1"/>
            <a:r>
              <a:rPr lang="en-US" dirty="0"/>
              <a:t>Full: (sub-)SPARQL semantic query AND/OR </a:t>
            </a:r>
            <a:r>
              <a:rPr lang="en-US" dirty="0" err="1"/>
              <a:t>GraphQL</a:t>
            </a:r>
            <a:r>
              <a:rPr lang="en-US" dirty="0"/>
              <a:t> AND/OR by-example</a:t>
            </a:r>
          </a:p>
          <a:p>
            <a:r>
              <a:rPr lang="en-US" dirty="0"/>
              <a:t>Gateway: registration sub-API, timeouts, etc.</a:t>
            </a:r>
          </a:p>
          <a:p>
            <a:r>
              <a:rPr lang="en-US" dirty="0"/>
              <a:t>Self: same query API, but no public registration API</a:t>
            </a:r>
          </a:p>
          <a:p>
            <a:r>
              <a:rPr lang="en-US" dirty="0"/>
              <a:t>Mutable IDs </a:t>
            </a:r>
            <a:r>
              <a:rPr lang="en-US" dirty="0">
                <a:sym typeface="Wingdings" panose="05000000000000000000" pitchFamily="2" charset="2"/>
              </a:rPr>
              <a:t></a:t>
            </a:r>
            <a:r>
              <a:rPr lang="en-US" dirty="0"/>
              <a:t> need way to notify registered users of chang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7ED7C0D-F508-4DF8-825D-60BFF6326C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286180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DDB75B-CFAF-1044-9233-8309FBED14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ivacy Issu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6349BE-57FD-E94B-A65B-71E3594D82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918" y="1196753"/>
            <a:ext cx="10978515" cy="4929412"/>
          </a:xfrm>
        </p:spPr>
        <p:txBody>
          <a:bodyPr>
            <a:normAutofit lnSpcReduction="10000"/>
          </a:bodyPr>
          <a:lstStyle/>
          <a:p>
            <a:r>
              <a:rPr lang="en-US" dirty="0"/>
              <a:t>Privacy</a:t>
            </a:r>
          </a:p>
          <a:p>
            <a:pPr lvl="1"/>
            <a:r>
              <a:rPr lang="en-US" dirty="0"/>
              <a:t>Two-phase approach </a:t>
            </a:r>
            <a:r>
              <a:rPr lang="en-US" b="1" dirty="0"/>
              <a:t>not sufficient </a:t>
            </a:r>
            <a:r>
              <a:rPr lang="en-US" dirty="0"/>
              <a:t>to preserve privacy in all contexts</a:t>
            </a:r>
          </a:p>
          <a:p>
            <a:pPr lvl="1"/>
            <a:r>
              <a:rPr lang="en-US" dirty="0"/>
              <a:t>Privacy preservation also depends on the design of API</a:t>
            </a:r>
          </a:p>
          <a:p>
            <a:pPr lvl="1"/>
            <a:r>
              <a:rPr lang="en-US" dirty="0"/>
              <a:t>API needs to hide data that can be used to infer private information, such as location of device doing the discovery</a:t>
            </a:r>
          </a:p>
          <a:p>
            <a:r>
              <a:rPr lang="en-US" dirty="0"/>
              <a:t>Third-party code context (</a:t>
            </a:r>
            <a:r>
              <a:rPr lang="en-US" dirty="0" err="1"/>
              <a:t>eg</a:t>
            </a:r>
            <a:r>
              <a:rPr lang="en-US" dirty="0"/>
              <a:t> browser):</a:t>
            </a:r>
          </a:p>
          <a:p>
            <a:pPr lvl="1"/>
            <a:r>
              <a:rPr lang="en-US" dirty="0"/>
              <a:t>If discovery API follows two-phase structure, where Introduction returns list of directories, then even without authenticating the list of directories visible can possibly be used to infer location</a:t>
            </a:r>
          </a:p>
          <a:p>
            <a:pPr lvl="1"/>
            <a:r>
              <a:rPr lang="en-US" dirty="0"/>
              <a:t>This is especially true if the discovery mechanism can be constrained to particular Introduction mechanisms.</a:t>
            </a:r>
          </a:p>
          <a:p>
            <a:pPr lvl="1"/>
            <a:r>
              <a:rPr lang="en-US" dirty="0"/>
              <a:t>May also be a problem in proposed non-browser contexts, </a:t>
            </a:r>
            <a:r>
              <a:rPr lang="en-US" dirty="0" err="1"/>
              <a:t>eg.</a:t>
            </a:r>
            <a:r>
              <a:rPr lang="en-US" dirty="0"/>
              <a:t> “Edge Workers”</a:t>
            </a:r>
          </a:p>
          <a:p>
            <a:pPr lvl="1"/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1EF4E36-3B13-FB47-AEF6-BE61BD0E1E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514129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85487D-51EB-304A-A005-5FEE4A38C0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rrent Scripting API – </a:t>
            </a:r>
            <a:r>
              <a:rPr lang="en-US"/>
              <a:t>Discussion Point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B79F32-6A96-7047-BE64-0D9F4F4B93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918" y="1340768"/>
            <a:ext cx="10978515" cy="5040559"/>
          </a:xfrm>
        </p:spPr>
        <p:txBody>
          <a:bodyPr>
            <a:normAutofit fontScale="85000" lnSpcReduction="20000"/>
          </a:bodyPr>
          <a:lstStyle/>
          <a:p>
            <a:r>
              <a:rPr lang="en-US" dirty="0"/>
              <a:t>Allows discovery mechanism to be specified</a:t>
            </a:r>
          </a:p>
          <a:p>
            <a:r>
              <a:rPr lang="en-US" dirty="0"/>
              <a:t>Returns discovered TDs</a:t>
            </a:r>
          </a:p>
          <a:p>
            <a:r>
              <a:rPr lang="en-US" dirty="0"/>
              <a:t>Assumes authentication/authorization is handled out-of-band</a:t>
            </a:r>
          </a:p>
          <a:p>
            <a:pPr marL="0" indent="0">
              <a:buNone/>
            </a:pPr>
            <a:r>
              <a:rPr lang="en-US" dirty="0"/>
              <a:t>Discussion Points:</a:t>
            </a:r>
          </a:p>
          <a:p>
            <a:r>
              <a:rPr lang="en-US" dirty="0"/>
              <a:t>Not incompatible with two-phase approach</a:t>
            </a:r>
          </a:p>
          <a:p>
            <a:pPr lvl="1"/>
            <a:r>
              <a:rPr lang="en-US" dirty="0"/>
              <a:t>Authentication/authorization needs to be set up outside script</a:t>
            </a:r>
          </a:p>
          <a:p>
            <a:r>
              <a:rPr lang="en-US" dirty="0"/>
              <a:t>Query format needs to be better standardized</a:t>
            </a:r>
          </a:p>
          <a:p>
            <a:pPr lvl="1"/>
            <a:r>
              <a:rPr lang="en-US" dirty="0"/>
              <a:t>What query forms are supported?  What are the parameters?</a:t>
            </a:r>
          </a:p>
          <a:p>
            <a:pPr lvl="1"/>
            <a:r>
              <a:rPr lang="en-US" dirty="0"/>
              <a:t>How can I search for Things in a particular physical location (that I am not necessarily at?)</a:t>
            </a:r>
          </a:p>
          <a:p>
            <a:r>
              <a:rPr lang="en-US" dirty="0"/>
              <a:t>Options to select mechanisms may be a privacy risk</a:t>
            </a:r>
          </a:p>
          <a:p>
            <a:pPr lvl="1"/>
            <a:r>
              <a:rPr lang="en-US" dirty="0"/>
              <a:t>If I can discover a thing via Bluetooth, I know it is within a few meters</a:t>
            </a:r>
          </a:p>
          <a:p>
            <a:pPr lvl="1"/>
            <a:r>
              <a:rPr lang="en-US" dirty="0"/>
              <a:t>Perhaps the mechanisms and desired location should also be specified out of band</a:t>
            </a:r>
          </a:p>
          <a:p>
            <a:r>
              <a:rPr lang="en-US" dirty="0"/>
              <a:t>Alternatives:</a:t>
            </a:r>
          </a:p>
          <a:p>
            <a:pPr lvl="1"/>
            <a:r>
              <a:rPr lang="en-US" dirty="0"/>
              <a:t> “Discovery sub-API” could be factored out and run during setup, like security config</a:t>
            </a:r>
          </a:p>
          <a:p>
            <a:pPr lvl="1"/>
            <a:r>
              <a:rPr lang="en-US" dirty="0"/>
              <a:t> Things to be consumed by a script perhaps managed declaratively using dependences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6D5C4C6-084D-104C-AEC5-B2C14B2F60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94193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40887b0-086c-4ff4-8beb-b5b55c2754ed"/>
</p:tagLst>
</file>

<file path=ppt/theme/theme1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11_Intel 20150715">
  <a:themeElements>
    <a:clrScheme name="Custom 1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11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4_intel16x9">
  <a:themeElements>
    <a:clrScheme name="Custom 4">
      <a:dk1>
        <a:sysClr val="windowText" lastClr="000000"/>
      </a:dk1>
      <a:lt1>
        <a:sysClr val="window" lastClr="FFFFFF"/>
      </a:lt1>
      <a:dk2>
        <a:srgbClr val="0071C5"/>
      </a:dk2>
      <a:lt2>
        <a:srgbClr val="FFFFFF"/>
      </a:lt2>
      <a:accent1>
        <a:srgbClr val="00AEEF"/>
      </a:accent1>
      <a:accent2>
        <a:srgbClr val="C4D600"/>
      </a:accent2>
      <a:accent3>
        <a:srgbClr val="F3D54E"/>
      </a:accent3>
      <a:accent4>
        <a:srgbClr val="FFA300"/>
      </a:accent4>
      <a:accent5>
        <a:srgbClr val="FC4C02"/>
      </a:accent5>
      <a:accent6>
        <a:srgbClr val="003C71"/>
      </a:accent6>
      <a:hlink>
        <a:srgbClr val="00AEEF"/>
      </a:hlink>
      <a:folHlink>
        <a:srgbClr val="00AEEF"/>
      </a:folHlink>
    </a:clrScheme>
    <a:fontScheme name="intel2015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372" tIns="45688" rIns="91372" bIns="45688" numCol="1" rtlCol="0" anchor="t" anchorCtr="1" compatLnSpc="1">
        <a:prstTxWarp prst="textNoShape">
          <a:avLst/>
        </a:prstTxWarp>
        <a:noAutofit/>
      </a:bodyPr>
      <a:lstStyle>
        <a:defPPr marL="0" marR="0" indent="0" algn="ctr" defTabSz="914400" rtl="0" eaLnBrk="1" fontAlgn="base" latinLnBrk="0" hangingPunct="1">
          <a:lnSpc>
            <a:spcPct val="95000"/>
          </a:lnSpc>
          <a:spcBef>
            <a:spcPct val="30000"/>
          </a:spcBef>
          <a:spcAft>
            <a:spcPct val="0"/>
          </a:spcAft>
          <a:buClr>
            <a:schemeClr val="tx1"/>
          </a:buClr>
          <a:buSzTx/>
          <a:buFont typeface="Wingdings" pitchFamily="2" charset="2"/>
          <a:buNone/>
          <a:tabLst/>
          <a:defRPr kumimoji="0" sz="2000" b="0" i="0" u="none" strike="noStrike" cap="none" normalizeH="0" baseline="0" smtClean="0">
            <a:ln>
              <a:noFill/>
            </a:ln>
            <a:solidFill>
              <a:srgbClr val="FFFFFF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 Narrow" pitchFamily="34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372" tIns="45688" rIns="91372" bIns="45688" numCol="1" anchor="t" anchorCtr="1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95000"/>
          </a:lnSpc>
          <a:spcBef>
            <a:spcPct val="30000"/>
          </a:spcBef>
          <a:spcAft>
            <a:spcPct val="0"/>
          </a:spcAft>
          <a:buClr>
            <a:schemeClr val="tx1"/>
          </a:buClr>
          <a:buSzTx/>
          <a:buFont typeface="Wingdings" pitchFamily="2" charset="2"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rgbClr val="FFFFFF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 Narrow" pitchFamily="34" charset="0"/>
            <a:cs typeface="Arial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sz="3200" dirty="0"/>
        </a:defPPr>
      </a:lstStyle>
    </a:txDef>
  </a:objectDefaults>
  <a:extraClrSchemeLst>
    <a:extraClrScheme>
      <a:clrScheme name="2_Architecture 1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33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3">
        <a:dk1>
          <a:srgbClr val="000000"/>
        </a:dk1>
        <a:lt1>
          <a:srgbClr val="FFFFCC"/>
        </a:lt1>
        <a:dk2>
          <a:srgbClr val="999933"/>
        </a:dk2>
        <a:lt2>
          <a:srgbClr val="808000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4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5">
        <a:dk1>
          <a:srgbClr val="000000"/>
        </a:dk1>
        <a:lt1>
          <a:srgbClr val="FFFFFF"/>
        </a:lt1>
        <a:dk2>
          <a:srgbClr val="000000"/>
        </a:dk2>
        <a:lt2>
          <a:srgbClr val="9F9F9F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6">
        <a:dk1>
          <a:srgbClr val="000000"/>
        </a:dk1>
        <a:lt1>
          <a:srgbClr val="FFFFFF"/>
        </a:lt1>
        <a:dk2>
          <a:srgbClr val="000000"/>
        </a:dk2>
        <a:lt2>
          <a:srgbClr val="868686"/>
        </a:lt2>
        <a:accent1>
          <a:srgbClr val="CBCBCB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005CE7"/>
        </a:accent6>
        <a:hlink>
          <a:srgbClr val="FF0033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7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rchitecture 8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5BB3B9"/>
        </a:hlink>
        <a:folHlink>
          <a:srgbClr val="CC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9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FFCC00"/>
        </a:hlink>
        <a:folHlink>
          <a:srgbClr val="CC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0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9999"/>
        </a:hlink>
        <a:folHlink>
          <a:srgbClr val="CC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1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9999"/>
        </a:hlink>
        <a:folHlink>
          <a:srgbClr val="CC00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2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9999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3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66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C00"/>
        </a:accent6>
        <a:hlink>
          <a:srgbClr val="00C5C0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4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5C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300"/>
        </a:accent6>
        <a:hlink>
          <a:srgbClr val="00C5C0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5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5C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300"/>
        </a:accent6>
        <a:hlink>
          <a:srgbClr val="10C8E1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rchitecture 16">
        <a:dk1>
          <a:srgbClr val="000000"/>
        </a:dk1>
        <a:lt1>
          <a:srgbClr val="FFFFFF"/>
        </a:lt1>
        <a:dk2>
          <a:srgbClr val="0034FF"/>
        </a:dk2>
        <a:lt2>
          <a:srgbClr val="FDB605"/>
        </a:lt2>
        <a:accent1>
          <a:srgbClr val="66CC33"/>
        </a:accent1>
        <a:accent2>
          <a:srgbClr val="FF5C00"/>
        </a:accent2>
        <a:accent3>
          <a:srgbClr val="AAAEFF"/>
        </a:accent3>
        <a:accent4>
          <a:srgbClr val="DADADA"/>
        </a:accent4>
        <a:accent5>
          <a:srgbClr val="B8E2AD"/>
        </a:accent5>
        <a:accent6>
          <a:srgbClr val="E75300"/>
        </a:accent6>
        <a:hlink>
          <a:srgbClr val="10C8E1"/>
        </a:hlink>
        <a:folHlink>
          <a:srgbClr val="F3016E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Intel 20150715">
  <a:themeElements>
    <a:clrScheme name="Custom 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9_Intel 20150715">
  <a:themeElements>
    <a:clrScheme name="Custom 1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5_Intel 20150715">
  <a:themeElements>
    <a:clrScheme name="Custom 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6_Intel 20150715">
  <a:themeElements>
    <a:clrScheme name="Custom 6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2_Intel 20150715">
  <a:themeElements>
    <a:clrScheme name="Custom 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8.xml><?xml version="1.0" encoding="utf-8"?>
<a:theme xmlns:a="http://schemas.openxmlformats.org/drawingml/2006/main" name="10_Intel 20150715">
  <a:themeElements>
    <a:clrScheme name="Custom 1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ppt/theme/theme9.xml><?xml version="1.0" encoding="utf-8"?>
<a:theme xmlns:a="http://schemas.openxmlformats.org/drawingml/2006/main" name="3_Intel 20150715">
  <a:themeElements>
    <a:clrScheme name="Custom 5">
      <a:dk1>
        <a:sysClr val="windowText" lastClr="000000"/>
      </a:dk1>
      <a:lt1>
        <a:sysClr val="window" lastClr="FFFFFF"/>
      </a:lt1>
      <a:dk2>
        <a:srgbClr val="003C71"/>
      </a:dk2>
      <a:lt2>
        <a:srgbClr val="B1BABF"/>
      </a:lt2>
      <a:accent1>
        <a:srgbClr val="0071C5"/>
      </a:accent1>
      <a:accent2>
        <a:srgbClr val="00AEEF"/>
      </a:accent2>
      <a:accent3>
        <a:srgbClr val="F3D54E"/>
      </a:accent3>
      <a:accent4>
        <a:srgbClr val="FFA300"/>
      </a:accent4>
      <a:accent5>
        <a:srgbClr val="FC4C02"/>
      </a:accent5>
      <a:accent6>
        <a:srgbClr val="C3D600"/>
      </a:accent6>
      <a:hlink>
        <a:srgbClr val="00AEEF"/>
      </a:hlink>
      <a:folHlink>
        <a:srgbClr val="00AEEF"/>
      </a:folHlink>
    </a:clrScheme>
    <a:fontScheme name="Custom 47">
      <a:majorFont>
        <a:latin typeface="Intel Clear Pro"/>
        <a:ea typeface=""/>
        <a:cs typeface=""/>
      </a:majorFont>
      <a:minorFont>
        <a:latin typeface="Intel Clear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Two columns</Name>
  <PpLayout>29</PpLayout>
  <Index>12</Index>
</p4ppTags>
</file>

<file path=customXml/item10.xml><?xml version="1.0" encoding="utf-8"?>
<p4ppTags>
  <Name>Three columns + Navigation</Name>
  <PpLayout>32</PpLayout>
  <Index>20</Index>
</p4ppTags>
</file>

<file path=customXml/item11.xml><?xml version="1.0" encoding="utf-8"?>
<p4ppTags>
  <Name>Free Content</Name>
  <PpLayout>11</PpLayout>
  <Index>9</Index>
</p4ppTags>
</file>

<file path=customXml/item12.xml><?xml version="1.0" encoding="utf-8"?>
<p4ppTags>
  <Name>Four objects</Name>
  <PpLayout>24</PpLayout>
  <Index>15</Index>
</p4ppTags>
</file>

<file path=customXml/item13.xml><?xml version="1.0" encoding="utf-8"?>
<p4ppTags>
  <Name>Two columns + Navigation</Name>
  <PpLayout>32</PpLayout>
  <Index>19</Index>
</p4ppTags>
</file>

<file path=customXml/item2.xml><?xml version="1.0" encoding="utf-8"?>
<p4ppTags>
  <Name>One object (small)</Name>
  <PpLayout>16</PpLayout>
  <Index>11</Index>
</p4ppTags>
</file>

<file path=customXml/item3.xml><?xml version="1.0" encoding="utf-8"?>
<p4ppTags>
  <Name>One object (large) + Navigation</Name>
  <PpLayout>32</PpLayout>
  <Index>17</Index>
</p4ppTags>
</file>

<file path=customXml/item4.xml><?xml version="1.0" encoding="utf-8"?>
<p4ppTags>
  <Name>One object (large)</Name>
  <PpLayout>16</PpLayout>
  <Index>10</Index>
</p4ppTags>
</file>

<file path=customXml/item5.xml><?xml version="1.0" encoding="utf-8"?>
<p4ppTags>
  <Name>Two rows</Name>
  <PpLayout>32</PpLayout>
  <Index>13</Index>
</p4ppTags>
</file>

<file path=customXml/item6.xml><?xml version="1.0" encoding="utf-8"?>
<p4ppTags>
  <Name>Free Content + Navigation</Name>
  <PpLayout>32</PpLayout>
  <Index>16</Index>
</p4ppTags>
</file>

<file path=customXml/item7.xml><?xml version="1.0" encoding="utf-8"?>
<p4ppTags>
  <Name>Three columns</Name>
  <PpLayout>32</PpLayout>
  <Index>14</Index>
</p4ppTags>
</file>

<file path=customXml/item8.xml><?xml version="1.0" encoding="utf-8"?>
<p4ppTags>
  <Name>One object (small) + Navigation</Name>
  <PpLayout>32</PpLayout>
  <Index>18</Index>
</p4ppTags>
</file>

<file path=customXml/item9.xml><?xml version="1.0" encoding="utf-8"?>
<p4ppTags>
  <Name>Text + Index</Name>
  <PpLayout>32</PpLayout>
  <Index>8</Index>
</p4ppTags>
</file>

<file path=customXml/itemProps1.xml><?xml version="1.0" encoding="utf-8"?>
<ds:datastoreItem xmlns:ds="http://schemas.openxmlformats.org/officeDocument/2006/customXml" ds:itemID="{9299034F-B9D7-46FC-B241-DC94BF0E67F6}">
  <ds:schemaRefs/>
</ds:datastoreItem>
</file>

<file path=customXml/itemProps10.xml><?xml version="1.0" encoding="utf-8"?>
<ds:datastoreItem xmlns:ds="http://schemas.openxmlformats.org/officeDocument/2006/customXml" ds:itemID="{69E3DA23-9724-4848-A6F6-2F0F36B1F914}">
  <ds:schemaRefs/>
</ds:datastoreItem>
</file>

<file path=customXml/itemProps11.xml><?xml version="1.0" encoding="utf-8"?>
<ds:datastoreItem xmlns:ds="http://schemas.openxmlformats.org/officeDocument/2006/customXml" ds:itemID="{B5096DD8-53C8-4E83-8664-FC4F8BE8B725}">
  <ds:schemaRefs/>
</ds:datastoreItem>
</file>

<file path=customXml/itemProps12.xml><?xml version="1.0" encoding="utf-8"?>
<ds:datastoreItem xmlns:ds="http://schemas.openxmlformats.org/officeDocument/2006/customXml" ds:itemID="{4E8C063E-54DF-40B8-B6B7-24C91B170904}">
  <ds:schemaRefs/>
</ds:datastoreItem>
</file>

<file path=customXml/itemProps13.xml><?xml version="1.0" encoding="utf-8"?>
<ds:datastoreItem xmlns:ds="http://schemas.openxmlformats.org/officeDocument/2006/customXml" ds:itemID="{A27DC4FC-F9FA-4AC8-AAAA-729E607CE7E5}">
  <ds:schemaRefs/>
</ds:datastoreItem>
</file>

<file path=customXml/itemProps2.xml><?xml version="1.0" encoding="utf-8"?>
<ds:datastoreItem xmlns:ds="http://schemas.openxmlformats.org/officeDocument/2006/customXml" ds:itemID="{B19D05D1-AE0E-4B0D-AA6A-E4DC4507B75E}">
  <ds:schemaRefs/>
</ds:datastoreItem>
</file>

<file path=customXml/itemProps3.xml><?xml version="1.0" encoding="utf-8"?>
<ds:datastoreItem xmlns:ds="http://schemas.openxmlformats.org/officeDocument/2006/customXml" ds:itemID="{F718F79D-2091-4AD7-864E-B9B95B323394}">
  <ds:schemaRefs/>
</ds:datastoreItem>
</file>

<file path=customXml/itemProps4.xml><?xml version="1.0" encoding="utf-8"?>
<ds:datastoreItem xmlns:ds="http://schemas.openxmlformats.org/officeDocument/2006/customXml" ds:itemID="{864B6C15-1FF1-4ADA-8DBE-CD1DAF35B070}">
  <ds:schemaRefs/>
</ds:datastoreItem>
</file>

<file path=customXml/itemProps5.xml><?xml version="1.0" encoding="utf-8"?>
<ds:datastoreItem xmlns:ds="http://schemas.openxmlformats.org/officeDocument/2006/customXml" ds:itemID="{F14BB4E7-BF22-46E2-AA3C-1ABA12A0B021}">
  <ds:schemaRefs/>
</ds:datastoreItem>
</file>

<file path=customXml/itemProps6.xml><?xml version="1.0" encoding="utf-8"?>
<ds:datastoreItem xmlns:ds="http://schemas.openxmlformats.org/officeDocument/2006/customXml" ds:itemID="{3C206999-0CDF-47B3-B85E-D5652B9D7810}">
  <ds:schemaRefs/>
</ds:datastoreItem>
</file>

<file path=customXml/itemProps7.xml><?xml version="1.0" encoding="utf-8"?>
<ds:datastoreItem xmlns:ds="http://schemas.openxmlformats.org/officeDocument/2006/customXml" ds:itemID="{8699A006-2152-4093-B4FC-C6BF20D5E592}">
  <ds:schemaRefs/>
</ds:datastoreItem>
</file>

<file path=customXml/itemProps8.xml><?xml version="1.0" encoding="utf-8"?>
<ds:datastoreItem xmlns:ds="http://schemas.openxmlformats.org/officeDocument/2006/customXml" ds:itemID="{0091252C-F36F-40C9-984C-22582B3E6FB3}">
  <ds:schemaRefs/>
</ds:datastoreItem>
</file>

<file path=customXml/itemProps9.xml><?xml version="1.0" encoding="utf-8"?>
<ds:datastoreItem xmlns:ds="http://schemas.openxmlformats.org/officeDocument/2006/customXml" ds:itemID="{0D9599B2-641B-429C-8C85-C591ECF8C990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145</TotalTime>
  <Words>717</Words>
  <Application>Microsoft Macintosh PowerPoint</Application>
  <PresentationFormat>Custom</PresentationFormat>
  <Paragraphs>90</Paragraphs>
  <Slides>7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8</vt:i4>
      </vt:variant>
      <vt:variant>
        <vt:lpstr>Theme</vt:lpstr>
      </vt:variant>
      <vt:variant>
        <vt:i4>10</vt:i4>
      </vt:variant>
      <vt:variant>
        <vt:lpstr>Slide Titles</vt:lpstr>
      </vt:variant>
      <vt:variant>
        <vt:i4>7</vt:i4>
      </vt:variant>
    </vt:vector>
  </HeadingPairs>
  <TitlesOfParts>
    <vt:vector size="25" baseType="lpstr">
      <vt:lpstr>Neo Sans Intel</vt:lpstr>
      <vt:lpstr>Neo Sans Intel Medium</vt:lpstr>
      <vt:lpstr>Arial</vt:lpstr>
      <vt:lpstr>Calibri</vt:lpstr>
      <vt:lpstr>Courier New</vt:lpstr>
      <vt:lpstr>Intel Clear</vt:lpstr>
      <vt:lpstr>Intel Clear Pro</vt:lpstr>
      <vt:lpstr>Wingdings</vt:lpstr>
      <vt:lpstr>Larissa</vt:lpstr>
      <vt:lpstr>4_intel16x9</vt:lpstr>
      <vt:lpstr>1_Intel 20150715</vt:lpstr>
      <vt:lpstr>9_Intel 20150715</vt:lpstr>
      <vt:lpstr>5_Intel 20150715</vt:lpstr>
      <vt:lpstr>6_Intel 20150715</vt:lpstr>
      <vt:lpstr>2_Intel 20150715</vt:lpstr>
      <vt:lpstr>10_Intel 20150715</vt:lpstr>
      <vt:lpstr>3_Intel 20150715</vt:lpstr>
      <vt:lpstr>11_Intel 20150715</vt:lpstr>
      <vt:lpstr>Two-Phase Discovery Framework</vt:lpstr>
      <vt:lpstr>Discovery Requirements</vt:lpstr>
      <vt:lpstr>Proposal: Two-Phase Discovery</vt:lpstr>
      <vt:lpstr>Introduction</vt:lpstr>
      <vt:lpstr>Exploration</vt:lpstr>
      <vt:lpstr>Privacy Issue</vt:lpstr>
      <vt:lpstr>Current Scripting API – Discussion Point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3C Web of Things – Getting Started</dc:title>
  <dc:creator>Matthias Kovatsch</dc:creator>
  <cp:keywords>CTPClassification=CTP_NT</cp:keywords>
  <cp:lastModifiedBy>Mccool, Michael</cp:lastModifiedBy>
  <cp:revision>349</cp:revision>
  <dcterms:created xsi:type="dcterms:W3CDTF">2018-05-15T12:31:41Z</dcterms:created>
  <dcterms:modified xsi:type="dcterms:W3CDTF">2020-03-16T17:26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aeff39f7-349d-4b9d-923b-ec311ed38df5</vt:lpwstr>
  </property>
  <property fmtid="{D5CDD505-2E9C-101B-9397-08002B2CF9AE}" pid="3" name="CTP_TimeStamp">
    <vt:lpwstr>2019-09-19 09:37:47Z</vt:lpwstr>
  </property>
  <property fmtid="{D5CDD505-2E9C-101B-9397-08002B2CF9AE}" pid="4" name="CTP_BU">
    <vt:lpwstr>NA</vt:lpwstr>
  </property>
  <property fmtid="{D5CDD505-2E9C-101B-9397-08002B2CF9AE}" pid="5" name="CTP_IDSID">
    <vt:lpwstr>NA</vt:lpwstr>
  </property>
  <property fmtid="{D5CDD505-2E9C-101B-9397-08002B2CF9AE}" pid="6" name="CTP_WWID">
    <vt:lpwstr>NA</vt:lpwstr>
  </property>
  <property fmtid="{D5CDD505-2E9C-101B-9397-08002B2CF9AE}" pid="7" name="CTPClassification">
    <vt:lpwstr>CTP_NT</vt:lpwstr>
  </property>
  <property fmtid="{D5CDD505-2E9C-101B-9397-08002B2CF9AE}" pid="8" name="_readonly">
    <vt:lpwstr/>
  </property>
  <property fmtid="{D5CDD505-2E9C-101B-9397-08002B2CF9AE}" pid="9" name="_change">
    <vt:lpwstr/>
  </property>
  <property fmtid="{D5CDD505-2E9C-101B-9397-08002B2CF9AE}" pid="10" name="_full-control">
    <vt:lpwstr/>
  </property>
  <property fmtid="{D5CDD505-2E9C-101B-9397-08002B2CF9AE}" pid="11" name="sflag">
    <vt:lpwstr>1563866936</vt:lpwstr>
  </property>
</Properties>
</file>